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  <p:sldMasterId id="2147483662" r:id="rId6"/>
  </p:sldMasterIdLst>
  <p:notesMasterIdLst>
    <p:notesMasterId r:id="rId13"/>
  </p:notesMasterIdLst>
  <p:handoutMasterIdLst>
    <p:handoutMasterId r:id="rId14"/>
  </p:handoutMasterIdLst>
  <p:sldIdLst>
    <p:sldId id="2146845966" r:id="rId7"/>
    <p:sldId id="2146845979" r:id="rId8"/>
    <p:sldId id="2146846005" r:id="rId9"/>
    <p:sldId id="2146846004" r:id="rId10"/>
    <p:sldId id="2146846006" r:id="rId11"/>
    <p:sldId id="5391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88" userDrawn="1">
          <p15:clr>
            <a:srgbClr val="A4A3A4"/>
          </p15:clr>
        </p15:guide>
        <p15:guide id="2" pos="768" userDrawn="1">
          <p15:clr>
            <a:srgbClr val="A4A3A4"/>
          </p15:clr>
        </p15:guide>
        <p15:guide id="3" pos="2808" userDrawn="1">
          <p15:clr>
            <a:srgbClr val="A4A3A4"/>
          </p15:clr>
        </p15:guide>
        <p15:guide id="4" pos="5544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72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150D5E-7DB0-10E8-40F9-1627936B3DF9}" name="David Keesman" initials="DK" userId="S::david.keesman@asml.com::edfb6f5b-1581-4733-a6bc-2544b1eb193f" providerId="AD"/>
  <p188:author id="{B703F69B-0DB8-2A00-017E-AF17D7FA6390}" name="Rene Jans-Beken" initials="RJB" userId="S::rene.jans-beken@asml.com::38b14476-a065-4235-8d42-6aed39b1b40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D54F41-3B15-4B89-A6FA-367B33610DC9}" v="770" dt="2024-04-29T12:46:14.102"/>
    <p1510:client id="{393C9CC3-C7AB-472F-A219-5BC159DD63F1}" v="915" dt="2024-04-29T12:52:21.762"/>
    <p1510:client id="{A95C273D-68EF-CE68-4855-E4EB489C44D4}" v="346" dt="2024-04-29T12:56:05.757"/>
    <p1510:client id="{CF03F748-FD0B-4426-93AC-D42FA0CC0396}" v="1100" dt="2024-04-29T12:28:46.7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088"/>
        <p:guide pos="768"/>
        <p:guide pos="2808"/>
        <p:guide pos="5544"/>
        <p:guide pos="3840"/>
        <p:guide pos="720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rinivas Swami" userId="a9da3c23-b13f-4447-be52-d243247f1bd3" providerId="ADAL" clId="{CF03F748-FD0B-4426-93AC-D42FA0CC0396}"/>
    <pc:docChg chg="custSel modSld">
      <pc:chgData name="Shrinivas Swami" userId="a9da3c23-b13f-4447-be52-d243247f1bd3" providerId="ADAL" clId="{CF03F748-FD0B-4426-93AC-D42FA0CC0396}" dt="2024-04-29T12:28:46.727" v="1064" actId="20577"/>
      <pc:docMkLst>
        <pc:docMk/>
      </pc:docMkLst>
      <pc:sldChg chg="modSp mod">
        <pc:chgData name="Shrinivas Swami" userId="a9da3c23-b13f-4447-be52-d243247f1bd3" providerId="ADAL" clId="{CF03F748-FD0B-4426-93AC-D42FA0CC0396}" dt="2024-04-29T12:28:46.727" v="1064" actId="20577"/>
        <pc:sldMkLst>
          <pc:docMk/>
          <pc:sldMk cId="3772693436" sldId="2146846004"/>
        </pc:sldMkLst>
        <pc:graphicFrameChg chg="mod modGraphic">
          <ac:chgData name="Shrinivas Swami" userId="a9da3c23-b13f-4447-be52-d243247f1bd3" providerId="ADAL" clId="{CF03F748-FD0B-4426-93AC-D42FA0CC0396}" dt="2024-04-29T12:28:46.727" v="1064" actId="20577"/>
          <ac:graphicFrameMkLst>
            <pc:docMk/>
            <pc:sldMk cId="3772693436" sldId="2146846004"/>
            <ac:graphicFrameMk id="4" creationId="{07F53EC5-3887-AF17-58B0-A8089D69A896}"/>
          </ac:graphicFrameMkLst>
        </pc:graphicFrameChg>
      </pc:sldChg>
    </pc:docChg>
  </pc:docChgLst>
  <pc:docChgLst>
    <pc:chgData name="David Keesman" userId="edfb6f5b-1581-4733-a6bc-2544b1eb193f" providerId="ADAL" clId="{5C9AB5E4-CE87-43EB-A863-9E38E97B9AE3}"/>
    <pc:docChg chg="undo custSel addSld delSld modSld modMainMaster">
      <pc:chgData name="David Keesman" userId="edfb6f5b-1581-4733-a6bc-2544b1eb193f" providerId="ADAL" clId="{5C9AB5E4-CE87-43EB-A863-9E38E97B9AE3}" dt="2024-04-16T12:14:07.197" v="656" actId="20577"/>
      <pc:docMkLst>
        <pc:docMk/>
      </pc:docMkLst>
      <pc:sldChg chg="modSp mod">
        <pc:chgData name="David Keesman" userId="edfb6f5b-1581-4733-a6bc-2544b1eb193f" providerId="ADAL" clId="{5C9AB5E4-CE87-43EB-A863-9E38E97B9AE3}" dt="2024-04-16T05:48:15.039" v="470" actId="20577"/>
        <pc:sldMkLst>
          <pc:docMk/>
          <pc:sldMk cId="763503031" sldId="2146845979"/>
        </pc:sldMkLst>
        <pc:spChg chg="mod">
          <ac:chgData name="David Keesman" userId="edfb6f5b-1581-4733-a6bc-2544b1eb193f" providerId="ADAL" clId="{5C9AB5E4-CE87-43EB-A863-9E38E97B9AE3}" dt="2024-04-15T07:35:18.450" v="12" actId="20577"/>
          <ac:spMkLst>
            <pc:docMk/>
            <pc:sldMk cId="763503031" sldId="2146845979"/>
            <ac:spMk id="12" creationId="{66C700BE-FFA4-6C29-E1A4-69055E74D77B}"/>
          </ac:spMkLst>
        </pc:spChg>
        <pc:graphicFrameChg chg="mod modGraphic">
          <ac:chgData name="David Keesman" userId="edfb6f5b-1581-4733-a6bc-2544b1eb193f" providerId="ADAL" clId="{5C9AB5E4-CE87-43EB-A863-9E38E97B9AE3}" dt="2024-04-16T05:48:15.039" v="470" actId="20577"/>
          <ac:graphicFrameMkLst>
            <pc:docMk/>
            <pc:sldMk cId="763503031" sldId="2146845979"/>
            <ac:graphicFrameMk id="13" creationId="{B076B9CB-656D-5B08-A1FC-D95D0D8C3B7A}"/>
          </ac:graphicFrameMkLst>
        </pc:graphicFrameChg>
      </pc:sldChg>
      <pc:sldChg chg="del">
        <pc:chgData name="David Keesman" userId="edfb6f5b-1581-4733-a6bc-2544b1eb193f" providerId="ADAL" clId="{5C9AB5E4-CE87-43EB-A863-9E38E97B9AE3}" dt="2024-04-15T07:35:55.285" v="17" actId="47"/>
        <pc:sldMkLst>
          <pc:docMk/>
          <pc:sldMk cId="2882679382" sldId="2146845986"/>
        </pc:sldMkLst>
      </pc:sldChg>
      <pc:sldChg chg="addSp delSp modSp del mod modClrScheme chgLayout">
        <pc:chgData name="David Keesman" userId="edfb6f5b-1581-4733-a6bc-2544b1eb193f" providerId="ADAL" clId="{5C9AB5E4-CE87-43EB-A863-9E38E97B9AE3}" dt="2024-04-15T07:35:55.285" v="17" actId="47"/>
        <pc:sldMkLst>
          <pc:docMk/>
          <pc:sldMk cId="1514379460" sldId="2146845995"/>
        </pc:sldMkLst>
        <pc:spChg chg="del">
          <ac:chgData name="David Keesman" userId="edfb6f5b-1581-4733-a6bc-2544b1eb193f" providerId="ADAL" clId="{5C9AB5E4-CE87-43EB-A863-9E38E97B9AE3}" dt="2024-04-15T07:22:46.559" v="1" actId="700"/>
          <ac:spMkLst>
            <pc:docMk/>
            <pc:sldMk cId="1514379460" sldId="2146845995"/>
            <ac:spMk id="3" creationId="{5B1853D6-7888-7360-D87F-8515ABD95979}"/>
          </ac:spMkLst>
        </pc:spChg>
        <pc:spChg chg="mod ord">
          <ac:chgData name="David Keesman" userId="edfb6f5b-1581-4733-a6bc-2544b1eb193f" providerId="ADAL" clId="{5C9AB5E4-CE87-43EB-A863-9E38E97B9AE3}" dt="2024-04-15T07:35:21.142" v="13" actId="700"/>
          <ac:spMkLst>
            <pc:docMk/>
            <pc:sldMk cId="1514379460" sldId="2146845995"/>
            <ac:spMk id="4" creationId="{53012404-9CD6-D1D7-0298-26D0CEC505B4}"/>
          </ac:spMkLst>
        </pc:spChg>
        <pc:spChg chg="add del mod ord">
          <ac:chgData name="David Keesman" userId="edfb6f5b-1581-4733-a6bc-2544b1eb193f" providerId="ADAL" clId="{5C9AB5E4-CE87-43EB-A863-9E38E97B9AE3}" dt="2024-04-15T07:35:21.142" v="13" actId="700"/>
          <ac:spMkLst>
            <pc:docMk/>
            <pc:sldMk cId="1514379460" sldId="2146845995"/>
            <ac:spMk id="5" creationId="{780AE498-F03E-8103-BF2C-878C84625851}"/>
          </ac:spMkLst>
        </pc:spChg>
        <pc:spChg chg="mod ord">
          <ac:chgData name="David Keesman" userId="edfb6f5b-1581-4733-a6bc-2544b1eb193f" providerId="ADAL" clId="{5C9AB5E4-CE87-43EB-A863-9E38E97B9AE3}" dt="2024-04-15T07:35:21.142" v="13" actId="700"/>
          <ac:spMkLst>
            <pc:docMk/>
            <pc:sldMk cId="1514379460" sldId="2146845995"/>
            <ac:spMk id="6" creationId="{4F2B17E9-F832-6766-3650-A81E945DB590}"/>
          </ac:spMkLst>
        </pc:spChg>
        <pc:spChg chg="add del mod ord">
          <ac:chgData name="David Keesman" userId="edfb6f5b-1581-4733-a6bc-2544b1eb193f" providerId="ADAL" clId="{5C9AB5E4-CE87-43EB-A863-9E38E97B9AE3}" dt="2024-04-15T07:24:49.785" v="6" actId="700"/>
          <ac:spMkLst>
            <pc:docMk/>
            <pc:sldMk cId="1514379460" sldId="2146845995"/>
            <ac:spMk id="7" creationId="{CF02A204-099E-99DF-9253-06BF454476C7}"/>
          </ac:spMkLst>
        </pc:spChg>
        <pc:spChg chg="add del mod ord">
          <ac:chgData name="David Keesman" userId="edfb6f5b-1581-4733-a6bc-2544b1eb193f" providerId="ADAL" clId="{5C9AB5E4-CE87-43EB-A863-9E38E97B9AE3}" dt="2024-04-15T07:24:49.785" v="6" actId="700"/>
          <ac:spMkLst>
            <pc:docMk/>
            <pc:sldMk cId="1514379460" sldId="2146845995"/>
            <ac:spMk id="8" creationId="{0B80AC3A-A020-ACB6-DFAE-D79A42EA6ABE}"/>
          </ac:spMkLst>
        </pc:spChg>
        <pc:spChg chg="add del mod ord">
          <ac:chgData name="David Keesman" userId="edfb6f5b-1581-4733-a6bc-2544b1eb193f" providerId="ADAL" clId="{5C9AB5E4-CE87-43EB-A863-9E38E97B9AE3}" dt="2024-04-15T07:24:49.785" v="6" actId="700"/>
          <ac:spMkLst>
            <pc:docMk/>
            <pc:sldMk cId="1514379460" sldId="2146845995"/>
            <ac:spMk id="9" creationId="{F146F3F6-CA61-357C-D1A6-4B3A7569BE97}"/>
          </ac:spMkLst>
        </pc:spChg>
        <pc:spChg chg="add del mod ord">
          <ac:chgData name="David Keesman" userId="edfb6f5b-1581-4733-a6bc-2544b1eb193f" providerId="ADAL" clId="{5C9AB5E4-CE87-43EB-A863-9E38E97B9AE3}" dt="2024-04-15T07:25:30.393" v="8" actId="700"/>
          <ac:spMkLst>
            <pc:docMk/>
            <pc:sldMk cId="1514379460" sldId="2146845995"/>
            <ac:spMk id="10" creationId="{5883B160-FA5E-D18F-13A4-12F5FD2E0DD3}"/>
          </ac:spMkLst>
        </pc:spChg>
        <pc:spChg chg="add del mod ord">
          <ac:chgData name="David Keesman" userId="edfb6f5b-1581-4733-a6bc-2544b1eb193f" providerId="ADAL" clId="{5C9AB5E4-CE87-43EB-A863-9E38E97B9AE3}" dt="2024-04-15T07:25:30.393" v="8" actId="700"/>
          <ac:spMkLst>
            <pc:docMk/>
            <pc:sldMk cId="1514379460" sldId="2146845995"/>
            <ac:spMk id="11" creationId="{BA12210F-FD09-4951-8769-C3DA51D0A9D5}"/>
          </ac:spMkLst>
        </pc:spChg>
        <pc:spChg chg="mod ord">
          <ac:chgData name="David Keesman" userId="edfb6f5b-1581-4733-a6bc-2544b1eb193f" providerId="ADAL" clId="{5C9AB5E4-CE87-43EB-A863-9E38E97B9AE3}" dt="2024-04-15T07:35:21.142" v="13" actId="700"/>
          <ac:spMkLst>
            <pc:docMk/>
            <pc:sldMk cId="1514379460" sldId="2146845995"/>
            <ac:spMk id="12" creationId="{66C700BE-FFA4-6C29-E1A4-69055E74D77B}"/>
          </ac:spMkLst>
        </pc:spChg>
        <pc:spChg chg="add del mod ord">
          <ac:chgData name="David Keesman" userId="edfb6f5b-1581-4733-a6bc-2544b1eb193f" providerId="ADAL" clId="{5C9AB5E4-CE87-43EB-A863-9E38E97B9AE3}" dt="2024-04-15T07:25:30.393" v="8" actId="700"/>
          <ac:spMkLst>
            <pc:docMk/>
            <pc:sldMk cId="1514379460" sldId="2146845995"/>
            <ac:spMk id="13" creationId="{18E553DA-8D22-3596-D2D7-420F149C3EF3}"/>
          </ac:spMkLst>
        </pc:spChg>
        <pc:spChg chg="add del mod ord">
          <ac:chgData name="David Keesman" userId="edfb6f5b-1581-4733-a6bc-2544b1eb193f" providerId="ADAL" clId="{5C9AB5E4-CE87-43EB-A863-9E38E97B9AE3}" dt="2024-04-15T07:35:21.142" v="13" actId="700"/>
          <ac:spMkLst>
            <pc:docMk/>
            <pc:sldMk cId="1514379460" sldId="2146845995"/>
            <ac:spMk id="14" creationId="{21247D02-F079-9338-C472-2AE2FCEDC602}"/>
          </ac:spMkLst>
        </pc:spChg>
      </pc:sldChg>
      <pc:sldChg chg="addSp delSp modSp del mod">
        <pc:chgData name="David Keesman" userId="edfb6f5b-1581-4733-a6bc-2544b1eb193f" providerId="ADAL" clId="{5C9AB5E4-CE87-43EB-A863-9E38E97B9AE3}" dt="2024-04-15T18:24:46.092" v="73" actId="2696"/>
        <pc:sldMkLst>
          <pc:docMk/>
          <pc:sldMk cId="1569653875" sldId="2146845996"/>
        </pc:sldMkLst>
        <pc:spChg chg="del mod">
          <ac:chgData name="David Keesman" userId="edfb6f5b-1581-4733-a6bc-2544b1eb193f" providerId="ADAL" clId="{5C9AB5E4-CE87-43EB-A863-9E38E97B9AE3}" dt="2024-04-15T07:36:33.080" v="25" actId="478"/>
          <ac:spMkLst>
            <pc:docMk/>
            <pc:sldMk cId="1569653875" sldId="2146845996"/>
            <ac:spMk id="3" creationId="{77D0B26C-8232-5523-5713-43B1297A6DA7}"/>
          </ac:spMkLst>
        </pc:spChg>
        <pc:spChg chg="mod">
          <ac:chgData name="David Keesman" userId="edfb6f5b-1581-4733-a6bc-2544b1eb193f" providerId="ADAL" clId="{5C9AB5E4-CE87-43EB-A863-9E38E97B9AE3}" dt="2024-04-15T07:36:42.781" v="48" actId="20577"/>
          <ac:spMkLst>
            <pc:docMk/>
            <pc:sldMk cId="1569653875" sldId="2146845996"/>
            <ac:spMk id="4" creationId="{4F00ACA0-A845-A7CB-9C53-BA1506E20ECB}"/>
          </ac:spMkLst>
        </pc:spChg>
        <pc:spChg chg="add del">
          <ac:chgData name="David Keesman" userId="edfb6f5b-1581-4733-a6bc-2544b1eb193f" providerId="ADAL" clId="{5C9AB5E4-CE87-43EB-A863-9E38E97B9AE3}" dt="2024-04-15T07:36:10.409" v="20" actId="22"/>
          <ac:spMkLst>
            <pc:docMk/>
            <pc:sldMk cId="1569653875" sldId="2146845996"/>
            <ac:spMk id="7" creationId="{D8FFFECE-2E3B-6337-804D-1DD4AA68A76F}"/>
          </ac:spMkLst>
        </pc:spChg>
        <pc:spChg chg="mod">
          <ac:chgData name="David Keesman" userId="edfb6f5b-1581-4733-a6bc-2544b1eb193f" providerId="ADAL" clId="{5C9AB5E4-CE87-43EB-A863-9E38E97B9AE3}" dt="2024-04-15T07:36:13.175" v="21"/>
          <ac:spMkLst>
            <pc:docMk/>
            <pc:sldMk cId="1569653875" sldId="2146845996"/>
            <ac:spMk id="12" creationId="{66C700BE-FFA4-6C29-E1A4-69055E74D77B}"/>
          </ac:spMkLst>
        </pc:spChg>
        <pc:graphicFrameChg chg="del modGraphic">
          <ac:chgData name="David Keesman" userId="edfb6f5b-1581-4733-a6bc-2544b1eb193f" providerId="ADAL" clId="{5C9AB5E4-CE87-43EB-A863-9E38E97B9AE3}" dt="2024-04-15T18:24:31.005" v="70" actId="21"/>
          <ac:graphicFrameMkLst>
            <pc:docMk/>
            <pc:sldMk cId="1569653875" sldId="2146845996"/>
            <ac:graphicFrameMk id="3" creationId="{07F53EC5-3887-AF17-58B0-A8089D69A896}"/>
          </ac:graphicFrameMkLst>
        </pc:graphicFrameChg>
      </pc:sldChg>
      <pc:sldChg chg="modSp del mod">
        <pc:chgData name="David Keesman" userId="edfb6f5b-1581-4733-a6bc-2544b1eb193f" providerId="ADAL" clId="{5C9AB5E4-CE87-43EB-A863-9E38E97B9AE3}" dt="2024-04-15T07:36:28.134" v="23" actId="47"/>
        <pc:sldMkLst>
          <pc:docMk/>
          <pc:sldMk cId="1750575023" sldId="2146845997"/>
        </pc:sldMkLst>
        <pc:spChg chg="mod">
          <ac:chgData name="David Keesman" userId="edfb6f5b-1581-4733-a6bc-2544b1eb193f" providerId="ADAL" clId="{5C9AB5E4-CE87-43EB-A863-9E38E97B9AE3}" dt="2024-04-15T07:36:18.974" v="22"/>
          <ac:spMkLst>
            <pc:docMk/>
            <pc:sldMk cId="1750575023" sldId="2146845997"/>
            <ac:spMk id="12" creationId="{66C700BE-FFA4-6C29-E1A4-69055E74D77B}"/>
          </ac:spMkLst>
        </pc:spChg>
      </pc:sldChg>
      <pc:sldChg chg="del">
        <pc:chgData name="David Keesman" userId="edfb6f5b-1581-4733-a6bc-2544b1eb193f" providerId="ADAL" clId="{5C9AB5E4-CE87-43EB-A863-9E38E97B9AE3}" dt="2024-04-15T07:36:28.134" v="23" actId="47"/>
        <pc:sldMkLst>
          <pc:docMk/>
          <pc:sldMk cId="3851286921" sldId="2146845998"/>
        </pc:sldMkLst>
      </pc:sldChg>
      <pc:sldChg chg="del">
        <pc:chgData name="David Keesman" userId="edfb6f5b-1581-4733-a6bc-2544b1eb193f" providerId="ADAL" clId="{5C9AB5E4-CE87-43EB-A863-9E38E97B9AE3}" dt="2024-04-15T07:36:28.134" v="23" actId="47"/>
        <pc:sldMkLst>
          <pc:docMk/>
          <pc:sldMk cId="415963486" sldId="2146845999"/>
        </pc:sldMkLst>
      </pc:sldChg>
      <pc:sldChg chg="del">
        <pc:chgData name="David Keesman" userId="edfb6f5b-1581-4733-a6bc-2544b1eb193f" providerId="ADAL" clId="{5C9AB5E4-CE87-43EB-A863-9E38E97B9AE3}" dt="2024-04-15T07:36:28.134" v="23" actId="47"/>
        <pc:sldMkLst>
          <pc:docMk/>
          <pc:sldMk cId="2829583470" sldId="2146846000"/>
        </pc:sldMkLst>
      </pc:sldChg>
      <pc:sldChg chg="del">
        <pc:chgData name="David Keesman" userId="edfb6f5b-1581-4733-a6bc-2544b1eb193f" providerId="ADAL" clId="{5C9AB5E4-CE87-43EB-A863-9E38E97B9AE3}" dt="2024-04-15T07:36:28.134" v="23" actId="47"/>
        <pc:sldMkLst>
          <pc:docMk/>
          <pc:sldMk cId="1100216267" sldId="2146846001"/>
        </pc:sldMkLst>
      </pc:sldChg>
      <pc:sldChg chg="modSp add del mod">
        <pc:chgData name="David Keesman" userId="edfb6f5b-1581-4733-a6bc-2544b1eb193f" providerId="ADAL" clId="{5C9AB5E4-CE87-43EB-A863-9E38E97B9AE3}" dt="2024-04-15T20:32:47.093" v="415" actId="2696"/>
        <pc:sldMkLst>
          <pc:docMk/>
          <pc:sldMk cId="622127708" sldId="2146846002"/>
        </pc:sldMkLst>
        <pc:graphicFrameChg chg="modGraphic">
          <ac:chgData name="David Keesman" userId="edfb6f5b-1581-4733-a6bc-2544b1eb193f" providerId="ADAL" clId="{5C9AB5E4-CE87-43EB-A863-9E38E97B9AE3}" dt="2024-04-15T20:29:40.868" v="363" actId="21"/>
          <ac:graphicFrameMkLst>
            <pc:docMk/>
            <pc:sldMk cId="622127708" sldId="2146846002"/>
            <ac:graphicFrameMk id="13" creationId="{B076B9CB-656D-5B08-A1FC-D95D0D8C3B7A}"/>
          </ac:graphicFrameMkLst>
        </pc:graphicFrameChg>
      </pc:sldChg>
      <pc:sldChg chg="add del">
        <pc:chgData name="David Keesman" userId="edfb6f5b-1581-4733-a6bc-2544b1eb193f" providerId="ADAL" clId="{5C9AB5E4-CE87-43EB-A863-9E38E97B9AE3}" dt="2024-04-15T07:35:43.517" v="16"/>
        <pc:sldMkLst>
          <pc:docMk/>
          <pc:sldMk cId="2036980096" sldId="2146846002"/>
        </pc:sldMkLst>
      </pc:sldChg>
      <pc:sldChg chg="add del">
        <pc:chgData name="David Keesman" userId="edfb6f5b-1581-4733-a6bc-2544b1eb193f" providerId="ADAL" clId="{5C9AB5E4-CE87-43EB-A863-9E38E97B9AE3}" dt="2024-04-15T18:24:48.706" v="74" actId="2696"/>
        <pc:sldMkLst>
          <pc:docMk/>
          <pc:sldMk cId="275657160" sldId="2146846003"/>
        </pc:sldMkLst>
      </pc:sldChg>
      <pc:sldChg chg="addSp delSp modSp add mod">
        <pc:chgData name="David Keesman" userId="edfb6f5b-1581-4733-a6bc-2544b1eb193f" providerId="ADAL" clId="{5C9AB5E4-CE87-43EB-A863-9E38E97B9AE3}" dt="2024-04-16T12:14:07.197" v="656" actId="20577"/>
        <pc:sldMkLst>
          <pc:docMk/>
          <pc:sldMk cId="3772693436" sldId="2146846004"/>
        </pc:sldMkLst>
        <pc:graphicFrameChg chg="add mod modGraphic">
          <ac:chgData name="David Keesman" userId="edfb6f5b-1581-4733-a6bc-2544b1eb193f" providerId="ADAL" clId="{5C9AB5E4-CE87-43EB-A863-9E38E97B9AE3}" dt="2024-04-16T12:14:07.197" v="656" actId="20577"/>
          <ac:graphicFrameMkLst>
            <pc:docMk/>
            <pc:sldMk cId="3772693436" sldId="2146846004"/>
            <ac:graphicFrameMk id="4" creationId="{07F53EC5-3887-AF17-58B0-A8089D69A896}"/>
          </ac:graphicFrameMkLst>
        </pc:graphicFrameChg>
        <pc:graphicFrameChg chg="del">
          <ac:chgData name="David Keesman" userId="edfb6f5b-1581-4733-a6bc-2544b1eb193f" providerId="ADAL" clId="{5C9AB5E4-CE87-43EB-A863-9E38E97B9AE3}" dt="2024-04-15T18:24:23.677" v="69" actId="478"/>
          <ac:graphicFrameMkLst>
            <pc:docMk/>
            <pc:sldMk cId="3772693436" sldId="2146846004"/>
            <ac:graphicFrameMk id="13" creationId="{B076B9CB-656D-5B08-A1FC-D95D0D8C3B7A}"/>
          </ac:graphicFrameMkLst>
        </pc:graphicFrameChg>
      </pc:sldChg>
      <pc:sldChg chg="modSp add mod">
        <pc:chgData name="David Keesman" userId="edfb6f5b-1581-4733-a6bc-2544b1eb193f" providerId="ADAL" clId="{5C9AB5E4-CE87-43EB-A863-9E38E97B9AE3}" dt="2024-04-16T12:10:38.306" v="476" actId="114"/>
        <pc:sldMkLst>
          <pc:docMk/>
          <pc:sldMk cId="2615905018" sldId="2146846005"/>
        </pc:sldMkLst>
        <pc:graphicFrameChg chg="mod modGraphic">
          <ac:chgData name="David Keesman" userId="edfb6f5b-1581-4733-a6bc-2544b1eb193f" providerId="ADAL" clId="{5C9AB5E4-CE87-43EB-A863-9E38E97B9AE3}" dt="2024-04-16T12:10:38.306" v="476" actId="114"/>
          <ac:graphicFrameMkLst>
            <pc:docMk/>
            <pc:sldMk cId="2615905018" sldId="2146846005"/>
            <ac:graphicFrameMk id="13" creationId="{B076B9CB-656D-5B08-A1FC-D95D0D8C3B7A}"/>
          </ac:graphicFrameMkLst>
        </pc:graphicFrameChg>
      </pc:sldChg>
      <pc:sldMasterChg chg="modSp">
        <pc:chgData name="David Keesman" userId="edfb6f5b-1581-4733-a6bc-2544b1eb193f" providerId="ADAL" clId="{5C9AB5E4-CE87-43EB-A863-9E38E97B9AE3}" dt="2024-04-15T07:23:50.935" v="4" actId="735"/>
        <pc:sldMasterMkLst>
          <pc:docMk/>
          <pc:sldMasterMk cId="2285280146" sldId="2147483648"/>
        </pc:sldMasterMkLst>
      </pc:sldMasterChg>
      <pc:sldMasterChg chg="modSldLayout">
        <pc:chgData name="David Keesman" userId="edfb6f5b-1581-4733-a6bc-2544b1eb193f" providerId="ADAL" clId="{5C9AB5E4-CE87-43EB-A863-9E38E97B9AE3}" dt="2024-04-15T07:35:21.353" v="14" actId="6014"/>
        <pc:sldMasterMkLst>
          <pc:docMk/>
          <pc:sldMasterMk cId="238818874" sldId="2147483662"/>
        </pc:sldMasterMkLst>
        <pc:sldLayoutChg chg="modSp mod">
          <pc:chgData name="David Keesman" userId="edfb6f5b-1581-4733-a6bc-2544b1eb193f" providerId="ADAL" clId="{5C9AB5E4-CE87-43EB-A863-9E38E97B9AE3}" dt="2024-04-15T07:35:21.353" v="14" actId="6014"/>
          <pc:sldLayoutMkLst>
            <pc:docMk/>
            <pc:sldMasterMk cId="238818874" sldId="2147483662"/>
            <pc:sldLayoutMk cId="2783890046" sldId="2147483689"/>
          </pc:sldLayoutMkLst>
          <pc:spChg chg="mod">
            <ac:chgData name="David Keesman" userId="edfb6f5b-1581-4733-a6bc-2544b1eb193f" providerId="ADAL" clId="{5C9AB5E4-CE87-43EB-A863-9E38E97B9AE3}" dt="2024-04-15T07:21:49.249" v="0"/>
            <ac:spMkLst>
              <pc:docMk/>
              <pc:sldMasterMk cId="238818874" sldId="2147483662"/>
              <pc:sldLayoutMk cId="2783890046" sldId="2147483689"/>
              <ac:spMk id="3" creationId="{8D9DD0FF-5B45-4FAF-B968-1B55041AE99F}"/>
            </ac:spMkLst>
          </pc:spChg>
        </pc:sldLayoutChg>
      </pc:sldMasterChg>
    </pc:docChg>
  </pc:docChgLst>
  <pc:docChgLst>
    <pc:chgData name="Uzochikwa Enunwa" userId="S::uzochikwa.enunwa@asml.com::f686fdc6-074b-447a-bdab-46e8585c3b05" providerId="AD" clId="Web-{7FBC4CEB-5B20-1C58-AB1D-D669342AD252}"/>
    <pc:docChg chg="modSld">
      <pc:chgData name="Uzochikwa Enunwa" userId="S::uzochikwa.enunwa@asml.com::f686fdc6-074b-447a-bdab-46e8585c3b05" providerId="AD" clId="Web-{7FBC4CEB-5B20-1C58-AB1D-D669342AD252}" dt="2024-04-15T15:17:46.361" v="585"/>
      <pc:docMkLst>
        <pc:docMk/>
      </pc:docMkLst>
      <pc:sldChg chg="modSp">
        <pc:chgData name="Uzochikwa Enunwa" userId="S::uzochikwa.enunwa@asml.com::f686fdc6-074b-447a-bdab-46e8585c3b05" providerId="AD" clId="Web-{7FBC4CEB-5B20-1C58-AB1D-D669342AD252}" dt="2024-04-15T15:17:46.361" v="585"/>
        <pc:sldMkLst>
          <pc:docMk/>
          <pc:sldMk cId="622127708" sldId="2146846002"/>
        </pc:sldMkLst>
        <pc:graphicFrameChg chg="mod modGraphic">
          <ac:chgData name="Uzochikwa Enunwa" userId="S::uzochikwa.enunwa@asml.com::f686fdc6-074b-447a-bdab-46e8585c3b05" providerId="AD" clId="Web-{7FBC4CEB-5B20-1C58-AB1D-D669342AD252}" dt="2024-04-15T15:17:46.361" v="585"/>
          <ac:graphicFrameMkLst>
            <pc:docMk/>
            <pc:sldMk cId="622127708" sldId="2146846002"/>
            <ac:graphicFrameMk id="13" creationId="{B076B9CB-656D-5B08-A1FC-D95D0D8C3B7A}"/>
          </ac:graphicFrameMkLst>
        </pc:graphicFrameChg>
      </pc:sldChg>
    </pc:docChg>
  </pc:docChgLst>
  <pc:docChgLst>
    <pc:chgData name="Shubhanshu Sharad Jaiswal" userId="45815619-a962-47fe-be5e-0b1736c7a00c" providerId="ADAL" clId="{4C610EF5-310F-4E07-806F-F0F474C4FBD4}"/>
    <pc:docChg chg="undo custSel modSld">
      <pc:chgData name="Shubhanshu Sharad Jaiswal" userId="45815619-a962-47fe-be5e-0b1736c7a00c" providerId="ADAL" clId="{4C610EF5-310F-4E07-806F-F0F474C4FBD4}" dt="2024-04-15T12:19:32.936" v="472" actId="20577"/>
      <pc:docMkLst>
        <pc:docMk/>
      </pc:docMkLst>
      <pc:sldChg chg="addSp modSp mod">
        <pc:chgData name="Shubhanshu Sharad Jaiswal" userId="45815619-a962-47fe-be5e-0b1736c7a00c" providerId="ADAL" clId="{4C610EF5-310F-4E07-806F-F0F474C4FBD4}" dt="2024-04-15T12:19:32.936" v="472" actId="20577"/>
        <pc:sldMkLst>
          <pc:docMk/>
          <pc:sldMk cId="1569653875" sldId="2146845996"/>
        </pc:sldMkLst>
        <pc:graphicFrameChg chg="add mod modGraphic">
          <ac:chgData name="Shubhanshu Sharad Jaiswal" userId="45815619-a962-47fe-be5e-0b1736c7a00c" providerId="ADAL" clId="{4C610EF5-310F-4E07-806F-F0F474C4FBD4}" dt="2024-04-15T12:19:32.936" v="472" actId="20577"/>
          <ac:graphicFrameMkLst>
            <pc:docMk/>
            <pc:sldMk cId="1569653875" sldId="2146845996"/>
            <ac:graphicFrameMk id="3" creationId="{07F53EC5-3887-AF17-58B0-A8089D69A896}"/>
          </ac:graphicFrameMkLst>
        </pc:graphicFrameChg>
      </pc:sldChg>
      <pc:sldChg chg="modSp">
        <pc:chgData name="Shubhanshu Sharad Jaiswal" userId="45815619-a962-47fe-be5e-0b1736c7a00c" providerId="ADAL" clId="{4C610EF5-310F-4E07-806F-F0F474C4FBD4}" dt="2024-04-15T12:15:18.483" v="281"/>
        <pc:sldMkLst>
          <pc:docMk/>
          <pc:sldMk cId="622127708" sldId="2146846002"/>
        </pc:sldMkLst>
        <pc:graphicFrameChg chg="mod">
          <ac:chgData name="Shubhanshu Sharad Jaiswal" userId="45815619-a962-47fe-be5e-0b1736c7a00c" providerId="ADAL" clId="{4C610EF5-310F-4E07-806F-F0F474C4FBD4}" dt="2024-04-15T12:15:18.483" v="281"/>
          <ac:graphicFrameMkLst>
            <pc:docMk/>
            <pc:sldMk cId="622127708" sldId="2146846002"/>
            <ac:graphicFrameMk id="13" creationId="{B076B9CB-656D-5B08-A1FC-D95D0D8C3B7A}"/>
          </ac:graphicFrameMkLst>
        </pc:graphicFrameChg>
      </pc:sldChg>
    </pc:docChg>
  </pc:docChgLst>
  <pc:docChgLst>
    <pc:chgData name="Uzochikwa Enunwa" userId="S::uzochikwa.enunwa@asml.com::f686fdc6-074b-447a-bdab-46e8585c3b05" providerId="AD" clId="Web-{2E0A9E1B-D936-63F6-FA44-9F1ECEED3B7E}"/>
    <pc:docChg chg="modSld">
      <pc:chgData name="Uzochikwa Enunwa" userId="S::uzochikwa.enunwa@asml.com::f686fdc6-074b-447a-bdab-46e8585c3b05" providerId="AD" clId="Web-{2E0A9E1B-D936-63F6-FA44-9F1ECEED3B7E}" dt="2024-04-15T09:20:41.120" v="309"/>
      <pc:docMkLst>
        <pc:docMk/>
      </pc:docMkLst>
      <pc:sldChg chg="modSp">
        <pc:chgData name="Uzochikwa Enunwa" userId="S::uzochikwa.enunwa@asml.com::f686fdc6-074b-447a-bdab-46e8585c3b05" providerId="AD" clId="Web-{2E0A9E1B-D936-63F6-FA44-9F1ECEED3B7E}" dt="2024-04-15T09:20:41.120" v="309"/>
        <pc:sldMkLst>
          <pc:docMk/>
          <pc:sldMk cId="622127708" sldId="2146846002"/>
        </pc:sldMkLst>
        <pc:graphicFrameChg chg="mod modGraphic">
          <ac:chgData name="Uzochikwa Enunwa" userId="S::uzochikwa.enunwa@asml.com::f686fdc6-074b-447a-bdab-46e8585c3b05" providerId="AD" clId="Web-{2E0A9E1B-D936-63F6-FA44-9F1ECEED3B7E}" dt="2024-04-15T09:20:41.120" v="309"/>
          <ac:graphicFrameMkLst>
            <pc:docMk/>
            <pc:sldMk cId="622127708" sldId="2146846002"/>
            <ac:graphicFrameMk id="13" creationId="{B076B9CB-656D-5B08-A1FC-D95D0D8C3B7A}"/>
          </ac:graphicFrameMkLst>
        </pc:graphicFrameChg>
      </pc:sldChg>
    </pc:docChg>
  </pc:docChgLst>
  <pc:docChgLst>
    <pc:chgData name="Shrinivas Swami" userId="a9da3c23-b13f-4447-be52-d243247f1bd3" providerId="ADAL" clId="{D0A9DB82-EFD0-4AF0-AC88-083CB535D3E4}"/>
    <pc:docChg chg="custSel modSld">
      <pc:chgData name="Shrinivas Swami" userId="a9da3c23-b13f-4447-be52-d243247f1bd3" providerId="ADAL" clId="{D0A9DB82-EFD0-4AF0-AC88-083CB535D3E4}" dt="2024-04-16T07:38:46.210" v="1458" actId="14100"/>
      <pc:docMkLst>
        <pc:docMk/>
      </pc:docMkLst>
      <pc:sldChg chg="modSp mod">
        <pc:chgData name="Shrinivas Swami" userId="a9da3c23-b13f-4447-be52-d243247f1bd3" providerId="ADAL" clId="{D0A9DB82-EFD0-4AF0-AC88-083CB535D3E4}" dt="2024-04-15T12:13:31.136" v="225" actId="20577"/>
        <pc:sldMkLst>
          <pc:docMk/>
          <pc:sldMk cId="763503031" sldId="2146845979"/>
        </pc:sldMkLst>
        <pc:graphicFrameChg chg="modGraphic">
          <ac:chgData name="Shrinivas Swami" userId="a9da3c23-b13f-4447-be52-d243247f1bd3" providerId="ADAL" clId="{D0A9DB82-EFD0-4AF0-AC88-083CB535D3E4}" dt="2024-04-15T12:13:31.136" v="225" actId="20577"/>
          <ac:graphicFrameMkLst>
            <pc:docMk/>
            <pc:sldMk cId="763503031" sldId="2146845979"/>
            <ac:graphicFrameMk id="13" creationId="{B076B9CB-656D-5B08-A1FC-D95D0D8C3B7A}"/>
          </ac:graphicFrameMkLst>
        </pc:graphicFrameChg>
      </pc:sldChg>
      <pc:sldChg chg="modSp mod">
        <pc:chgData name="Shrinivas Swami" userId="a9da3c23-b13f-4447-be52-d243247f1bd3" providerId="ADAL" clId="{D0A9DB82-EFD0-4AF0-AC88-083CB535D3E4}" dt="2024-04-15T14:20:05.008" v="1452" actId="20577"/>
        <pc:sldMkLst>
          <pc:docMk/>
          <pc:sldMk cId="1569653875" sldId="2146845996"/>
        </pc:sldMkLst>
        <pc:graphicFrameChg chg="mod modGraphic">
          <ac:chgData name="Shrinivas Swami" userId="a9da3c23-b13f-4447-be52-d243247f1bd3" providerId="ADAL" clId="{D0A9DB82-EFD0-4AF0-AC88-083CB535D3E4}" dt="2024-04-15T14:20:05.008" v="1452" actId="20577"/>
          <ac:graphicFrameMkLst>
            <pc:docMk/>
            <pc:sldMk cId="1569653875" sldId="2146845996"/>
            <ac:graphicFrameMk id="3" creationId="{07F53EC5-3887-AF17-58B0-A8089D69A896}"/>
          </ac:graphicFrameMkLst>
        </pc:graphicFrameChg>
      </pc:sldChg>
      <pc:sldChg chg="modSp mod">
        <pc:chgData name="Shrinivas Swami" userId="a9da3c23-b13f-4447-be52-d243247f1bd3" providerId="ADAL" clId="{D0A9DB82-EFD0-4AF0-AC88-083CB535D3E4}" dt="2024-04-15T14:18:04.349" v="1278" actId="20577"/>
        <pc:sldMkLst>
          <pc:docMk/>
          <pc:sldMk cId="622127708" sldId="2146846002"/>
        </pc:sldMkLst>
        <pc:graphicFrameChg chg="mod modGraphic">
          <ac:chgData name="Shrinivas Swami" userId="a9da3c23-b13f-4447-be52-d243247f1bd3" providerId="ADAL" clId="{D0A9DB82-EFD0-4AF0-AC88-083CB535D3E4}" dt="2024-04-15T14:18:04.349" v="1278" actId="20577"/>
          <ac:graphicFrameMkLst>
            <pc:docMk/>
            <pc:sldMk cId="622127708" sldId="2146846002"/>
            <ac:graphicFrameMk id="13" creationId="{B076B9CB-656D-5B08-A1FC-D95D0D8C3B7A}"/>
          </ac:graphicFrameMkLst>
        </pc:graphicFrameChg>
      </pc:sldChg>
      <pc:sldChg chg="modSp mod">
        <pc:chgData name="Shrinivas Swami" userId="a9da3c23-b13f-4447-be52-d243247f1bd3" providerId="ADAL" clId="{D0A9DB82-EFD0-4AF0-AC88-083CB535D3E4}" dt="2024-04-16T07:38:04.554" v="1456" actId="21"/>
        <pc:sldMkLst>
          <pc:docMk/>
          <pc:sldMk cId="3772693436" sldId="2146846004"/>
        </pc:sldMkLst>
        <pc:graphicFrameChg chg="modGraphic">
          <ac:chgData name="Shrinivas Swami" userId="a9da3c23-b13f-4447-be52-d243247f1bd3" providerId="ADAL" clId="{D0A9DB82-EFD0-4AF0-AC88-083CB535D3E4}" dt="2024-04-16T07:38:04.554" v="1456" actId="21"/>
          <ac:graphicFrameMkLst>
            <pc:docMk/>
            <pc:sldMk cId="3772693436" sldId="2146846004"/>
            <ac:graphicFrameMk id="4" creationId="{07F53EC5-3887-AF17-58B0-A8089D69A896}"/>
          </ac:graphicFrameMkLst>
        </pc:graphicFrameChg>
      </pc:sldChg>
      <pc:sldChg chg="modSp mod">
        <pc:chgData name="Shrinivas Swami" userId="a9da3c23-b13f-4447-be52-d243247f1bd3" providerId="ADAL" clId="{D0A9DB82-EFD0-4AF0-AC88-083CB535D3E4}" dt="2024-04-16T07:38:46.210" v="1458" actId="14100"/>
        <pc:sldMkLst>
          <pc:docMk/>
          <pc:sldMk cId="2615905018" sldId="2146846005"/>
        </pc:sldMkLst>
        <pc:graphicFrameChg chg="mod modGraphic">
          <ac:chgData name="Shrinivas Swami" userId="a9da3c23-b13f-4447-be52-d243247f1bd3" providerId="ADAL" clId="{D0A9DB82-EFD0-4AF0-AC88-083CB535D3E4}" dt="2024-04-16T07:38:46.210" v="1458" actId="14100"/>
          <ac:graphicFrameMkLst>
            <pc:docMk/>
            <pc:sldMk cId="2615905018" sldId="2146846005"/>
            <ac:graphicFrameMk id="13" creationId="{B076B9CB-656D-5B08-A1FC-D95D0D8C3B7A}"/>
          </ac:graphicFrameMkLst>
        </pc:graphicFrameChg>
      </pc:sldChg>
    </pc:docChg>
  </pc:docChgLst>
  <pc:docChgLst>
    <pc:chgData name="Uzochikwa Enunwa" userId="S::uzochikwa.enunwa@asml.com::f686fdc6-074b-447a-bdab-46e8585c3b05" providerId="AD" clId="Web-{A95C273D-68EF-CE68-4855-E4EB489C44D4}"/>
    <pc:docChg chg="modSld">
      <pc:chgData name="Uzochikwa Enunwa" userId="S::uzochikwa.enunwa@asml.com::f686fdc6-074b-447a-bdab-46e8585c3b05" providerId="AD" clId="Web-{A95C273D-68EF-CE68-4855-E4EB489C44D4}" dt="2024-04-29T12:56:01.506" v="255"/>
      <pc:docMkLst>
        <pc:docMk/>
      </pc:docMkLst>
      <pc:sldChg chg="addSp delSp modSp">
        <pc:chgData name="Uzochikwa Enunwa" userId="S::uzochikwa.enunwa@asml.com::f686fdc6-074b-447a-bdab-46e8585c3b05" providerId="AD" clId="Web-{A95C273D-68EF-CE68-4855-E4EB489C44D4}" dt="2024-04-29T12:56:01.506" v="255"/>
        <pc:sldMkLst>
          <pc:docMk/>
          <pc:sldMk cId="2615905018" sldId="2146846005"/>
        </pc:sldMkLst>
        <pc:graphicFrameChg chg="add del mod">
          <ac:chgData name="Uzochikwa Enunwa" userId="S::uzochikwa.enunwa@asml.com::f686fdc6-074b-447a-bdab-46e8585c3b05" providerId="AD" clId="Web-{A95C273D-68EF-CE68-4855-E4EB489C44D4}" dt="2024-04-29T12:16:49.957" v="1"/>
          <ac:graphicFrameMkLst>
            <pc:docMk/>
            <pc:sldMk cId="2615905018" sldId="2146846005"/>
            <ac:graphicFrameMk id="5" creationId="{6CE40713-C05A-4740-7D09-1CEBA1A2762A}"/>
          </ac:graphicFrameMkLst>
        </pc:graphicFrameChg>
        <pc:graphicFrameChg chg="mod modGraphic">
          <ac:chgData name="Uzochikwa Enunwa" userId="S::uzochikwa.enunwa@asml.com::f686fdc6-074b-447a-bdab-46e8585c3b05" providerId="AD" clId="Web-{A95C273D-68EF-CE68-4855-E4EB489C44D4}" dt="2024-04-29T12:56:01.506" v="255"/>
          <ac:graphicFrameMkLst>
            <pc:docMk/>
            <pc:sldMk cId="2615905018" sldId="2146846005"/>
            <ac:graphicFrameMk id="13" creationId="{B076B9CB-656D-5B08-A1FC-D95D0D8C3B7A}"/>
          </ac:graphicFrameMkLst>
        </pc:graphicFrameChg>
      </pc:sldChg>
    </pc:docChg>
  </pc:docChgLst>
  <pc:docChgLst>
    <pc:chgData name="Uzochikwa Enunwa" userId="S::uzochikwa.enunwa@asml.com::f686fdc6-074b-447a-bdab-46e8585c3b05" providerId="AD" clId="Web-{FC8E5B74-8FA4-8C1C-A473-1254859A6B44}"/>
    <pc:docChg chg="modSld">
      <pc:chgData name="Uzochikwa Enunwa" userId="S::uzochikwa.enunwa@asml.com::f686fdc6-074b-447a-bdab-46e8585c3b05" providerId="AD" clId="Web-{FC8E5B74-8FA4-8C1C-A473-1254859A6B44}" dt="2024-04-15T13:26:34.344" v="693"/>
      <pc:docMkLst>
        <pc:docMk/>
      </pc:docMkLst>
      <pc:sldChg chg="modSp">
        <pc:chgData name="Uzochikwa Enunwa" userId="S::uzochikwa.enunwa@asml.com::f686fdc6-074b-447a-bdab-46e8585c3b05" providerId="AD" clId="Web-{FC8E5B74-8FA4-8C1C-A473-1254859A6B44}" dt="2024-04-15T13:26:34.344" v="693"/>
        <pc:sldMkLst>
          <pc:docMk/>
          <pc:sldMk cId="622127708" sldId="2146846002"/>
        </pc:sldMkLst>
        <pc:graphicFrameChg chg="mod modGraphic">
          <ac:chgData name="Uzochikwa Enunwa" userId="S::uzochikwa.enunwa@asml.com::f686fdc6-074b-447a-bdab-46e8585c3b05" providerId="AD" clId="Web-{FC8E5B74-8FA4-8C1C-A473-1254859A6B44}" dt="2024-04-15T13:26:34.344" v="693"/>
          <ac:graphicFrameMkLst>
            <pc:docMk/>
            <pc:sldMk cId="622127708" sldId="2146846002"/>
            <ac:graphicFrameMk id="13" creationId="{B076B9CB-656D-5B08-A1FC-D95D0D8C3B7A}"/>
          </ac:graphicFrameMkLst>
        </pc:graphicFrameChg>
      </pc:sldChg>
    </pc:docChg>
  </pc:docChgLst>
  <pc:docChgLst>
    <pc:chgData name="Rene Jans-Beken" userId="38b14476-a065-4235-8d42-6aed39b1b40b" providerId="ADAL" clId="{393C9CC3-C7AB-472F-A219-5BC159DD63F1}"/>
    <pc:docChg chg="undo custSel modSld">
      <pc:chgData name="Rene Jans-Beken" userId="38b14476-a065-4235-8d42-6aed39b1b40b" providerId="ADAL" clId="{393C9CC3-C7AB-472F-A219-5BC159DD63F1}" dt="2024-04-29T12:52:21.762" v="794" actId="20577"/>
      <pc:docMkLst>
        <pc:docMk/>
      </pc:docMkLst>
      <pc:sldChg chg="modSp mod">
        <pc:chgData name="Rene Jans-Beken" userId="38b14476-a065-4235-8d42-6aed39b1b40b" providerId="ADAL" clId="{393C9CC3-C7AB-472F-A219-5BC159DD63F1}" dt="2024-04-29T12:52:21.762" v="794" actId="20577"/>
        <pc:sldMkLst>
          <pc:docMk/>
          <pc:sldMk cId="2615905018" sldId="2146846005"/>
        </pc:sldMkLst>
        <pc:graphicFrameChg chg="mod modGraphic">
          <ac:chgData name="Rene Jans-Beken" userId="38b14476-a065-4235-8d42-6aed39b1b40b" providerId="ADAL" clId="{393C9CC3-C7AB-472F-A219-5BC159DD63F1}" dt="2024-04-29T12:52:21.762" v="794" actId="20577"/>
          <ac:graphicFrameMkLst>
            <pc:docMk/>
            <pc:sldMk cId="2615905018" sldId="2146846005"/>
            <ac:graphicFrameMk id="13" creationId="{B076B9CB-656D-5B08-A1FC-D95D0D8C3B7A}"/>
          </ac:graphicFrameMkLst>
        </pc:graphicFrameChg>
      </pc:sldChg>
    </pc:docChg>
  </pc:docChgLst>
  <pc:docChgLst>
    <pc:chgData name="William Kimandu" userId="faf7825f-a3a2-4d89-956e-67b9c5092a90" providerId="ADAL" clId="{37ABEA9F-BF44-4FBC-A13F-D22E948AF72A}"/>
    <pc:docChg chg="custSel modSld">
      <pc:chgData name="William Kimandu" userId="faf7825f-a3a2-4d89-956e-67b9c5092a90" providerId="ADAL" clId="{37ABEA9F-BF44-4FBC-A13F-D22E948AF72A}" dt="2024-04-15T14:52:52.870" v="559" actId="20577"/>
      <pc:docMkLst>
        <pc:docMk/>
      </pc:docMkLst>
      <pc:sldChg chg="modSp mod">
        <pc:chgData name="William Kimandu" userId="faf7825f-a3a2-4d89-956e-67b9c5092a90" providerId="ADAL" clId="{37ABEA9F-BF44-4FBC-A13F-D22E948AF72A}" dt="2024-04-15T14:52:52.870" v="559" actId="20577"/>
        <pc:sldMkLst>
          <pc:docMk/>
          <pc:sldMk cId="1569653875" sldId="2146845996"/>
        </pc:sldMkLst>
        <pc:graphicFrameChg chg="mod modGraphic">
          <ac:chgData name="William Kimandu" userId="faf7825f-a3a2-4d89-956e-67b9c5092a90" providerId="ADAL" clId="{37ABEA9F-BF44-4FBC-A13F-D22E948AF72A}" dt="2024-04-15T14:52:52.870" v="559" actId="20577"/>
          <ac:graphicFrameMkLst>
            <pc:docMk/>
            <pc:sldMk cId="1569653875" sldId="2146845996"/>
            <ac:graphicFrameMk id="3" creationId="{07F53EC5-3887-AF17-58B0-A8089D69A896}"/>
          </ac:graphicFrameMkLst>
        </pc:graphicFrameChg>
      </pc:sldChg>
      <pc:sldChg chg="modSp mod">
        <pc:chgData name="William Kimandu" userId="faf7825f-a3a2-4d89-956e-67b9c5092a90" providerId="ADAL" clId="{37ABEA9F-BF44-4FBC-A13F-D22E948AF72A}" dt="2024-04-15T12:49:37.124" v="2" actId="14100"/>
        <pc:sldMkLst>
          <pc:docMk/>
          <pc:sldMk cId="622127708" sldId="2146846002"/>
        </pc:sldMkLst>
        <pc:graphicFrameChg chg="mod modGraphic">
          <ac:chgData name="William Kimandu" userId="faf7825f-a3a2-4d89-956e-67b9c5092a90" providerId="ADAL" clId="{37ABEA9F-BF44-4FBC-A13F-D22E948AF72A}" dt="2024-04-15T12:49:37.124" v="2" actId="14100"/>
          <ac:graphicFrameMkLst>
            <pc:docMk/>
            <pc:sldMk cId="622127708" sldId="2146846002"/>
            <ac:graphicFrameMk id="13" creationId="{B076B9CB-656D-5B08-A1FC-D95D0D8C3B7A}"/>
          </ac:graphicFrameMkLst>
        </pc:graphicFrameChg>
      </pc:sldChg>
    </pc:docChg>
  </pc:docChgLst>
  <pc:docChgLst>
    <pc:chgData name="Shubhanshu Sharad Jaiswal" userId="45815619-a962-47fe-be5e-0b1736c7a00c" providerId="ADAL" clId="{0BD54F41-3B15-4B89-A6FA-367B33610DC9}"/>
    <pc:docChg chg="undo custSel addSld modSld">
      <pc:chgData name="Shubhanshu Sharad Jaiswal" userId="45815619-a962-47fe-be5e-0b1736c7a00c" providerId="ADAL" clId="{0BD54F41-3B15-4B89-A6FA-367B33610DC9}" dt="2024-04-29T12:46:14.102" v="744" actId="6549"/>
      <pc:docMkLst>
        <pc:docMk/>
      </pc:docMkLst>
      <pc:sldChg chg="modSp">
        <pc:chgData name="Shubhanshu Sharad Jaiswal" userId="45815619-a962-47fe-be5e-0b1736c7a00c" providerId="ADAL" clId="{0BD54F41-3B15-4B89-A6FA-367B33610DC9}" dt="2024-04-29T12:32:21.123" v="146"/>
        <pc:sldMkLst>
          <pc:docMk/>
          <pc:sldMk cId="3772693436" sldId="2146846004"/>
        </pc:sldMkLst>
        <pc:graphicFrameChg chg="mod">
          <ac:chgData name="Shubhanshu Sharad Jaiswal" userId="45815619-a962-47fe-be5e-0b1736c7a00c" providerId="ADAL" clId="{0BD54F41-3B15-4B89-A6FA-367B33610DC9}" dt="2024-04-29T12:32:21.123" v="146"/>
          <ac:graphicFrameMkLst>
            <pc:docMk/>
            <pc:sldMk cId="3772693436" sldId="2146846004"/>
            <ac:graphicFrameMk id="4" creationId="{07F53EC5-3887-AF17-58B0-A8089D69A896}"/>
          </ac:graphicFrameMkLst>
        </pc:graphicFrameChg>
      </pc:sldChg>
      <pc:sldChg chg="modSp">
        <pc:chgData name="Shubhanshu Sharad Jaiswal" userId="45815619-a962-47fe-be5e-0b1736c7a00c" providerId="ADAL" clId="{0BD54F41-3B15-4B89-A6FA-367B33610DC9}" dt="2024-04-29T12:31:08.848" v="12"/>
        <pc:sldMkLst>
          <pc:docMk/>
          <pc:sldMk cId="2615905018" sldId="2146846005"/>
        </pc:sldMkLst>
        <pc:graphicFrameChg chg="mod">
          <ac:chgData name="Shubhanshu Sharad Jaiswal" userId="45815619-a962-47fe-be5e-0b1736c7a00c" providerId="ADAL" clId="{0BD54F41-3B15-4B89-A6FA-367B33610DC9}" dt="2024-04-29T12:31:08.848" v="12"/>
          <ac:graphicFrameMkLst>
            <pc:docMk/>
            <pc:sldMk cId="2615905018" sldId="2146846005"/>
            <ac:graphicFrameMk id="13" creationId="{B076B9CB-656D-5B08-A1FC-D95D0D8C3B7A}"/>
          </ac:graphicFrameMkLst>
        </pc:graphicFrameChg>
      </pc:sldChg>
      <pc:sldChg chg="modSp add mod">
        <pc:chgData name="Shubhanshu Sharad Jaiswal" userId="45815619-a962-47fe-be5e-0b1736c7a00c" providerId="ADAL" clId="{0BD54F41-3B15-4B89-A6FA-367B33610DC9}" dt="2024-04-29T12:46:14.102" v="744" actId="6549"/>
        <pc:sldMkLst>
          <pc:docMk/>
          <pc:sldMk cId="2935333827" sldId="2146846006"/>
        </pc:sldMkLst>
        <pc:graphicFrameChg chg="mod modGraphic">
          <ac:chgData name="Shubhanshu Sharad Jaiswal" userId="45815619-a962-47fe-be5e-0b1736c7a00c" providerId="ADAL" clId="{0BD54F41-3B15-4B89-A6FA-367B33610DC9}" dt="2024-04-29T12:46:14.102" v="744" actId="6549"/>
          <ac:graphicFrameMkLst>
            <pc:docMk/>
            <pc:sldMk cId="2935333827" sldId="2146846006"/>
            <ac:graphicFrameMk id="4" creationId="{07F53EC5-3887-AF17-58B0-A8089D69A896}"/>
          </ac:graphicFrameMkLst>
        </pc:graphicFrameChg>
      </pc:sldChg>
    </pc:docChg>
  </pc:docChgLst>
  <pc:docChgLst>
    <pc:chgData name="Rene Jans-Beken" userId="38b14476-a065-4235-8d42-6aed39b1b40b" providerId="ADAL" clId="{1A5E3107-85ED-4EF4-B81C-357F32C71D28}"/>
    <pc:docChg chg="undo custSel modSld">
      <pc:chgData name="Rene Jans-Beken" userId="38b14476-a065-4235-8d42-6aed39b1b40b" providerId="ADAL" clId="{1A5E3107-85ED-4EF4-B81C-357F32C71D28}" dt="2024-04-16T08:56:34.525" v="1101" actId="20577"/>
      <pc:docMkLst>
        <pc:docMk/>
      </pc:docMkLst>
      <pc:sldChg chg="modSp mod">
        <pc:chgData name="Rene Jans-Beken" userId="38b14476-a065-4235-8d42-6aed39b1b40b" providerId="ADAL" clId="{1A5E3107-85ED-4EF4-B81C-357F32C71D28}" dt="2024-04-16T08:56:34.525" v="1101" actId="20577"/>
        <pc:sldMkLst>
          <pc:docMk/>
          <pc:sldMk cId="763503031" sldId="2146845979"/>
        </pc:sldMkLst>
        <pc:graphicFrameChg chg="mod modGraphic">
          <ac:chgData name="Rene Jans-Beken" userId="38b14476-a065-4235-8d42-6aed39b1b40b" providerId="ADAL" clId="{1A5E3107-85ED-4EF4-B81C-357F32C71D28}" dt="2024-04-16T08:56:34.525" v="1101" actId="20577"/>
          <ac:graphicFrameMkLst>
            <pc:docMk/>
            <pc:sldMk cId="763503031" sldId="2146845979"/>
            <ac:graphicFrameMk id="13" creationId="{B076B9CB-656D-5B08-A1FC-D95D0D8C3B7A}"/>
          </ac:graphicFrameMkLst>
        </pc:graphicFrameChg>
      </pc:sldChg>
      <pc:sldChg chg="modSp mod addCm delCm">
        <pc:chgData name="Rene Jans-Beken" userId="38b14476-a065-4235-8d42-6aed39b1b40b" providerId="ADAL" clId="{1A5E3107-85ED-4EF4-B81C-357F32C71D28}" dt="2024-04-15T14:42:58.875" v="1005" actId="20577"/>
        <pc:sldMkLst>
          <pc:docMk/>
          <pc:sldMk cId="622127708" sldId="2146846002"/>
        </pc:sldMkLst>
        <pc:graphicFrameChg chg="modGraphic">
          <ac:chgData name="Rene Jans-Beken" userId="38b14476-a065-4235-8d42-6aed39b1b40b" providerId="ADAL" clId="{1A5E3107-85ED-4EF4-B81C-357F32C71D28}" dt="2024-04-15T14:42:58.875" v="1005" actId="20577"/>
          <ac:graphicFrameMkLst>
            <pc:docMk/>
            <pc:sldMk cId="622127708" sldId="2146846002"/>
            <ac:graphicFrameMk id="13" creationId="{B076B9CB-656D-5B08-A1FC-D95D0D8C3B7A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Rene Jans-Beken" userId="38b14476-a065-4235-8d42-6aed39b1b40b" providerId="ADAL" clId="{1A5E3107-85ED-4EF4-B81C-357F32C71D28}" dt="2024-04-15T14:42:41.456" v="1000"/>
              <pc2:cmMkLst xmlns:pc2="http://schemas.microsoft.com/office/powerpoint/2019/9/main/command">
                <pc:docMk/>
                <pc:sldMk cId="622127708" sldId="2146846002"/>
                <pc2:cmMk id="{721D1E57-223A-429A-9F6F-15F22FF63601}"/>
              </pc2:cmMkLst>
            </pc226:cmChg>
          </p:ext>
        </pc:extLst>
      </pc:sldChg>
    </pc:docChg>
  </pc:docChgLst>
  <pc:docChgLst>
    <pc:chgData name="Uzochikwa Enunwa" userId="S::uzochikwa.enunwa@asml.com::f686fdc6-074b-447a-bdab-46e8585c3b05" providerId="AD" clId="Web-{15219651-280D-070F-02B5-993956CBFF91}"/>
    <pc:docChg chg="modSld">
      <pc:chgData name="Uzochikwa Enunwa" userId="S::uzochikwa.enunwa@asml.com::f686fdc6-074b-447a-bdab-46e8585c3b05" providerId="AD" clId="Web-{15219651-280D-070F-02B5-993956CBFF91}" dt="2024-04-16T04:39:18.608" v="255"/>
      <pc:docMkLst>
        <pc:docMk/>
      </pc:docMkLst>
      <pc:sldChg chg="modSp">
        <pc:chgData name="Uzochikwa Enunwa" userId="S::uzochikwa.enunwa@asml.com::f686fdc6-074b-447a-bdab-46e8585c3b05" providerId="AD" clId="Web-{15219651-280D-070F-02B5-993956CBFF91}" dt="2024-04-16T04:39:18.608" v="255"/>
        <pc:sldMkLst>
          <pc:docMk/>
          <pc:sldMk cId="763503031" sldId="2146845979"/>
        </pc:sldMkLst>
        <pc:graphicFrameChg chg="mod modGraphic">
          <ac:chgData name="Uzochikwa Enunwa" userId="S::uzochikwa.enunwa@asml.com::f686fdc6-074b-447a-bdab-46e8585c3b05" providerId="AD" clId="Web-{15219651-280D-070F-02B5-993956CBFF91}" dt="2024-04-16T04:39:18.608" v="255"/>
          <ac:graphicFrameMkLst>
            <pc:docMk/>
            <pc:sldMk cId="763503031" sldId="2146845979"/>
            <ac:graphicFrameMk id="13" creationId="{B076B9CB-656D-5B08-A1FC-D95D0D8C3B7A}"/>
          </ac:graphicFrameMkLst>
        </pc:graphicFrameChg>
      </pc:sldChg>
      <pc:sldChg chg="modSp">
        <pc:chgData name="Uzochikwa Enunwa" userId="S::uzochikwa.enunwa@asml.com::f686fdc6-074b-447a-bdab-46e8585c3b05" providerId="AD" clId="Web-{15219651-280D-070F-02B5-993956CBFF91}" dt="2024-04-15T15:36:25.929" v="253"/>
        <pc:sldMkLst>
          <pc:docMk/>
          <pc:sldMk cId="622127708" sldId="2146846002"/>
        </pc:sldMkLst>
        <pc:graphicFrameChg chg="mod modGraphic">
          <ac:chgData name="Uzochikwa Enunwa" userId="S::uzochikwa.enunwa@asml.com::f686fdc6-074b-447a-bdab-46e8585c3b05" providerId="AD" clId="Web-{15219651-280D-070F-02B5-993956CBFF91}" dt="2024-04-15T15:36:25.929" v="253"/>
          <ac:graphicFrameMkLst>
            <pc:docMk/>
            <pc:sldMk cId="622127708" sldId="2146846002"/>
            <ac:graphicFrameMk id="13" creationId="{B076B9CB-656D-5B08-A1FC-D95D0D8C3B7A}"/>
          </ac:graphicFrameMkLst>
        </pc:graphicFrameChg>
      </pc:sldChg>
    </pc:docChg>
  </pc:docChgLst>
  <pc:docChgLst>
    <pc:chgData name="Celal Milletinisever" userId="S::celal.milletinisever@asml.com::4205cc0f-5edf-41ea-bded-dff335340287" providerId="AD" clId="Web-{0C3EBEB5-9456-49EB-807F-60654CC3DA57}"/>
    <pc:docChg chg="modSld">
      <pc:chgData name="Celal Milletinisever" userId="S::celal.milletinisever@asml.com::4205cc0f-5edf-41ea-bded-dff335340287" providerId="AD" clId="Web-{0C3EBEB5-9456-49EB-807F-60654CC3DA57}" dt="2024-04-15T12:56:44.182" v="401"/>
      <pc:docMkLst>
        <pc:docMk/>
      </pc:docMkLst>
      <pc:sldChg chg="modSp">
        <pc:chgData name="Celal Milletinisever" userId="S::celal.milletinisever@asml.com::4205cc0f-5edf-41ea-bded-dff335340287" providerId="AD" clId="Web-{0C3EBEB5-9456-49EB-807F-60654CC3DA57}" dt="2024-04-15T12:56:44.182" v="401"/>
        <pc:sldMkLst>
          <pc:docMk/>
          <pc:sldMk cId="1569653875" sldId="2146845996"/>
        </pc:sldMkLst>
        <pc:graphicFrameChg chg="mod modGraphic">
          <ac:chgData name="Celal Milletinisever" userId="S::celal.milletinisever@asml.com::4205cc0f-5edf-41ea-bded-dff335340287" providerId="AD" clId="Web-{0C3EBEB5-9456-49EB-807F-60654CC3DA57}" dt="2024-04-15T12:56:44.182" v="401"/>
          <ac:graphicFrameMkLst>
            <pc:docMk/>
            <pc:sldMk cId="1569653875" sldId="2146845996"/>
            <ac:graphicFrameMk id="3" creationId="{07F53EC5-3887-AF17-58B0-A8089D69A896}"/>
          </ac:graphicFrameMkLst>
        </pc:graphicFrameChg>
      </pc:sldChg>
    </pc:docChg>
  </pc:docChgLst>
  <pc:docChgLst>
    <pc:chgData name="David Keesman" userId="edfb6f5b-1581-4733-a6bc-2544b1eb193f" providerId="ADAL" clId="{DD8EBB2D-DC8F-467A-BCF8-51AEEA398111}"/>
    <pc:docChg chg="undo custSel modSld">
      <pc:chgData name="David Keesman" userId="edfb6f5b-1581-4733-a6bc-2544b1eb193f" providerId="ADAL" clId="{DD8EBB2D-DC8F-467A-BCF8-51AEEA398111}" dt="2024-04-29T06:55:22.875" v="13" actId="20577"/>
      <pc:docMkLst>
        <pc:docMk/>
      </pc:docMkLst>
      <pc:sldChg chg="modSp mod">
        <pc:chgData name="David Keesman" userId="edfb6f5b-1581-4733-a6bc-2544b1eb193f" providerId="ADAL" clId="{DD8EBB2D-DC8F-467A-BCF8-51AEEA398111}" dt="2024-04-29T06:55:10.623" v="10" actId="20577"/>
        <pc:sldMkLst>
          <pc:docMk/>
          <pc:sldMk cId="3731881724" sldId="2146845966"/>
        </pc:sldMkLst>
        <pc:spChg chg="mod">
          <ac:chgData name="David Keesman" userId="edfb6f5b-1581-4733-a6bc-2544b1eb193f" providerId="ADAL" clId="{DD8EBB2D-DC8F-467A-BCF8-51AEEA398111}" dt="2024-04-29T06:55:10.623" v="10" actId="20577"/>
          <ac:spMkLst>
            <pc:docMk/>
            <pc:sldMk cId="3731881724" sldId="2146845966"/>
            <ac:spMk id="7" creationId="{12051057-42C9-470C-BC28-FF5055824493}"/>
          </ac:spMkLst>
        </pc:spChg>
      </pc:sldChg>
      <pc:sldChg chg="modSp mod">
        <pc:chgData name="David Keesman" userId="edfb6f5b-1581-4733-a6bc-2544b1eb193f" providerId="ADAL" clId="{DD8EBB2D-DC8F-467A-BCF8-51AEEA398111}" dt="2024-04-29T06:55:06.839" v="9" actId="20577"/>
        <pc:sldMkLst>
          <pc:docMk/>
          <pc:sldMk cId="763503031" sldId="2146845979"/>
        </pc:sldMkLst>
        <pc:spChg chg="mod">
          <ac:chgData name="David Keesman" userId="edfb6f5b-1581-4733-a6bc-2544b1eb193f" providerId="ADAL" clId="{DD8EBB2D-DC8F-467A-BCF8-51AEEA398111}" dt="2024-04-29T06:55:06.839" v="9" actId="20577"/>
          <ac:spMkLst>
            <pc:docMk/>
            <pc:sldMk cId="763503031" sldId="2146845979"/>
            <ac:spMk id="12" creationId="{66C700BE-FFA4-6C29-E1A4-69055E74D77B}"/>
          </ac:spMkLst>
        </pc:spChg>
        <pc:graphicFrameChg chg="modGraphic">
          <ac:chgData name="David Keesman" userId="edfb6f5b-1581-4733-a6bc-2544b1eb193f" providerId="ADAL" clId="{DD8EBB2D-DC8F-467A-BCF8-51AEEA398111}" dt="2024-04-29T06:55:00.199" v="6" actId="6549"/>
          <ac:graphicFrameMkLst>
            <pc:docMk/>
            <pc:sldMk cId="763503031" sldId="2146845979"/>
            <ac:graphicFrameMk id="13" creationId="{B076B9CB-656D-5B08-A1FC-D95D0D8C3B7A}"/>
          </ac:graphicFrameMkLst>
        </pc:graphicFrameChg>
      </pc:sldChg>
      <pc:sldChg chg="modSp mod">
        <pc:chgData name="David Keesman" userId="edfb6f5b-1581-4733-a6bc-2544b1eb193f" providerId="ADAL" clId="{DD8EBB2D-DC8F-467A-BCF8-51AEEA398111}" dt="2024-04-29T06:55:22.875" v="13" actId="20577"/>
        <pc:sldMkLst>
          <pc:docMk/>
          <pc:sldMk cId="3772693436" sldId="2146846004"/>
        </pc:sldMkLst>
        <pc:spChg chg="mod">
          <ac:chgData name="David Keesman" userId="edfb6f5b-1581-4733-a6bc-2544b1eb193f" providerId="ADAL" clId="{DD8EBB2D-DC8F-467A-BCF8-51AEEA398111}" dt="2024-04-29T06:55:22.875" v="13" actId="20577"/>
          <ac:spMkLst>
            <pc:docMk/>
            <pc:sldMk cId="3772693436" sldId="2146846004"/>
            <ac:spMk id="12" creationId="{66C700BE-FFA4-6C29-E1A4-69055E74D77B}"/>
          </ac:spMkLst>
        </pc:spChg>
        <pc:graphicFrameChg chg="modGraphic">
          <ac:chgData name="David Keesman" userId="edfb6f5b-1581-4733-a6bc-2544b1eb193f" providerId="ADAL" clId="{DD8EBB2D-DC8F-467A-BCF8-51AEEA398111}" dt="2024-04-29T06:54:44.559" v="0" actId="6549"/>
          <ac:graphicFrameMkLst>
            <pc:docMk/>
            <pc:sldMk cId="3772693436" sldId="2146846004"/>
            <ac:graphicFrameMk id="4" creationId="{07F53EC5-3887-AF17-58B0-A8089D69A896}"/>
          </ac:graphicFrameMkLst>
        </pc:graphicFrameChg>
      </pc:sldChg>
      <pc:sldChg chg="modSp mod">
        <pc:chgData name="David Keesman" userId="edfb6f5b-1581-4733-a6bc-2544b1eb193f" providerId="ADAL" clId="{DD8EBB2D-DC8F-467A-BCF8-51AEEA398111}" dt="2024-04-29T06:55:19.363" v="11" actId="20577"/>
        <pc:sldMkLst>
          <pc:docMk/>
          <pc:sldMk cId="2615905018" sldId="2146846005"/>
        </pc:sldMkLst>
        <pc:spChg chg="mod">
          <ac:chgData name="David Keesman" userId="edfb6f5b-1581-4733-a6bc-2544b1eb193f" providerId="ADAL" clId="{DD8EBB2D-DC8F-467A-BCF8-51AEEA398111}" dt="2024-04-29T06:55:19.363" v="11" actId="20577"/>
          <ac:spMkLst>
            <pc:docMk/>
            <pc:sldMk cId="2615905018" sldId="2146846005"/>
            <ac:spMk id="12" creationId="{66C700BE-FFA4-6C29-E1A4-69055E74D77B}"/>
          </ac:spMkLst>
        </pc:spChg>
        <pc:graphicFrameChg chg="modGraphic">
          <ac:chgData name="David Keesman" userId="edfb6f5b-1581-4733-a6bc-2544b1eb193f" providerId="ADAL" clId="{DD8EBB2D-DC8F-467A-BCF8-51AEEA398111}" dt="2024-04-29T06:54:48.774" v="1" actId="6549"/>
          <ac:graphicFrameMkLst>
            <pc:docMk/>
            <pc:sldMk cId="2615905018" sldId="2146846005"/>
            <ac:graphicFrameMk id="13" creationId="{B076B9CB-656D-5B08-A1FC-D95D0D8C3B7A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E68E493-0E98-2A5C-7728-91ABD41AFA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B82532-60F0-5270-7341-8529D88BEF9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C31FB6-A874-4B67-A628-48BB3A171771}" type="datetimeFigureOut">
              <a:rPr lang="en-US" smtClean="0"/>
              <a:t>4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DAE7D-50F8-69B5-EB67-8F9CE4BE82F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64A39B-8033-E491-FD95-28B2C5201A6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36E8C5-B99D-4A69-B555-6D65B9D330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008491"/>
      </p:ext>
    </p:extLst>
  </p:cSld>
  <p:clrMap bg1="lt1" tx1="dk1" bg2="lt2" tx2="dk2" accent1="accent1" accent2="accent2" accent3="accent3" accent4="accent4" accent5="accent5" accent6="accent6" hlink="hlink" folHlink="folHlink"/>
  <p:hf ft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D70903-9954-47C9-8A96-5006845E5756}" type="datetimeFigureOut">
              <a:rPr lang="en-US" smtClean="0"/>
              <a:t>4/2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98013F-24BD-43DD-B8B4-84C62705F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254951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0025" y="1128713"/>
            <a:ext cx="6486525" cy="36496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374400" rtl="0" eaLnBrk="1" fontAlgn="auto" latinLnBrk="0" hangingPunct="1"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buClrTx/>
              <a:buSzTx/>
              <a:buFontTx/>
              <a:buNone/>
              <a:tabLst/>
              <a:defRPr/>
            </a:pPr>
            <a:fld id="{0E9F17F7-F050-401C-8CF8-548B9C5033D7}" type="datetime4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5A5B5E"/>
                </a:solidFill>
                <a:effectLst/>
                <a:uLnTx/>
                <a:uFillTx/>
                <a:latin typeface="Arial"/>
                <a:ea typeface="Microsoft JhengHei"/>
                <a:cs typeface="Arial"/>
              </a:rPr>
              <a:pPr marL="0" marR="0" lvl="0" indent="0" algn="r" defTabSz="374400" rtl="0" eaLnBrk="1" fontAlgn="auto" latinLnBrk="0" hangingPunct="1">
                <a:lnSpc>
                  <a:spcPct val="95000"/>
                </a:lnSpc>
                <a:spcBef>
                  <a:spcPts val="369"/>
                </a:spcBef>
                <a:spcAft>
                  <a:spcPts val="369"/>
                </a:spcAft>
                <a:buClrTx/>
                <a:buSzTx/>
                <a:buFontTx/>
                <a:buNone/>
                <a:tabLst/>
                <a:defRPr/>
              </a:pPr>
              <a:t>April 29, 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A5B5E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74400" rtl="0" eaLnBrk="1" fontAlgn="auto" latinLnBrk="0" hangingPunct="1"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5A5B5E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8" name="Header Placeholder 7">
            <a:extLst>
              <a:ext uri="{FF2B5EF4-FFF2-40B4-BE49-F238E27FC236}">
                <a16:creationId xmlns:a16="http://schemas.microsoft.com/office/drawing/2014/main" id="{F2B25E24-6757-1A01-68A2-B19C612E112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9682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B1E06C-1BD4-4005-8F31-B14848B826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A6B6FA-7AE7-413B-BE04-DF1087D0B5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D65EB5-F523-4A12-8754-B800E6F7C7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0F176-6047-4554-A318-166F7EF60217}" type="datetime1">
              <a:rPr lang="nl-NL" smtClean="0"/>
              <a:t>29-4-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5B890E-89DB-4659-BE70-95C5C84CA2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93C07-6E30-4128-8368-4D6190E86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85CC8-B913-452D-ADAA-DC4EF85366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14645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17CAC8-5287-4A94-84B7-6EFDA33E8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4FDE2B1-FFA2-4131-9763-9D3067DE00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B295F9-A3EF-4991-AC85-28B1A72D1A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9CDD1-009C-472B-A459-802CA9733533}" type="datetime1">
              <a:rPr lang="nl-NL" smtClean="0"/>
              <a:t>29-4-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343F28-042D-4EB7-B3E7-A00E91FA53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78F36C-5E8A-407A-B22B-8C74C4ADCF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85CC8-B913-452D-ADAA-DC4EF85366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5604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34545F9-0FAD-47B6-A427-CF90CB853B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8BC3D78-0058-4DD5-A941-1DD2106C36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7D2D83-208E-4B77-9450-67CA5EB3A2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CD3F8C-EE9C-4664-BAE8-A6E8884A661A}" type="datetime1">
              <a:rPr lang="nl-NL" smtClean="0"/>
              <a:t>29-4-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B39383-7645-42CC-99BE-2A7935C4B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CB4F89-246C-4603-977C-B4F4F0A5B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85CC8-B913-452D-ADAA-DC4EF85366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4298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">
  <p:cSld name="End slide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Hide background Logo">
            <a:extLst>
              <a:ext uri="{FF2B5EF4-FFF2-40B4-BE49-F238E27FC236}">
                <a16:creationId xmlns:a16="http://schemas.microsoft.com/office/drawing/2014/main" id="{0C3579B9-3ADA-4588-BB3E-E3EBFB6BF267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455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1391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0CD295C-95AB-4825-87D7-B3A7F8DCFDD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9396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9EA2067-06E6-4FB3-A618-7AA7C1C011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190800" y="-44552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E126F36-B98E-46D3-B603-5E778BC5212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5442000" y="-44508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BC02083-9AF7-4E76-94A4-CD5D9F2E6B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4693200" y="-44464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3BEE4F6-8A6B-4068-B86D-89DFDC70E62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-4442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anks</a:t>
            </a:r>
          </a:p>
          <a:p>
            <a:pPr lvl="1"/>
            <a:endParaRPr lang="en-US"/>
          </a:p>
        </p:txBody>
      </p:sp>
      <p:sp>
        <p:nvSpPr>
          <p:cNvPr id="39" name="MIO_AGENDA_IGNORE_NAVIGATION" hidden="1">
            <a:extLst>
              <a:ext uri="{FF2B5EF4-FFF2-40B4-BE49-F238E27FC236}">
                <a16:creationId xmlns:a16="http://schemas.microsoft.com/office/drawing/2014/main" id="{C3FBE8F4-38D0-493A-A7BB-33E9441676CE}"/>
              </a:ext>
            </a:extLst>
          </p:cNvPr>
          <p:cNvSpPr/>
          <p:nvPr/>
        </p:nvSpPr>
        <p:spPr>
          <a:xfrm>
            <a:off x="1179080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0" name="MIO_AGENDA_IGNORE_CHAPTER_REFERENCE" hidden="1">
            <a:extLst>
              <a:ext uri="{FF2B5EF4-FFF2-40B4-BE49-F238E27FC236}">
                <a16:creationId xmlns:a16="http://schemas.microsoft.com/office/drawing/2014/main" id="{F94A61A7-7AEE-4282-83AB-F464ED2636DA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3" name="MIO_AGENDA_LAST_SLIDE" hidden="1">
            <a:extLst>
              <a:ext uri="{FF2B5EF4-FFF2-40B4-BE49-F238E27FC236}">
                <a16:creationId xmlns:a16="http://schemas.microsoft.com/office/drawing/2014/main" id="{7049BCE7-7BC9-455B-8C84-08F8B9A0FB1E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5" name="Logo">
            <a:extLst>
              <a:ext uri="{FF2B5EF4-FFF2-40B4-BE49-F238E27FC236}">
                <a16:creationId xmlns:a16="http://schemas.microsoft.com/office/drawing/2014/main" id="{562F8F28-5BE4-41C6-8A66-09C03AA22E21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aphic 4907">
            <a:extLst>
              <a:ext uri="{FF2B5EF4-FFF2-40B4-BE49-F238E27FC236}">
                <a16:creationId xmlns:a16="http://schemas.microsoft.com/office/drawing/2014/main" id="{22AFA129-B012-46CD-AC08-0FE087D3976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47" name="Vrije vorm: vorm 4910">
              <a:extLst>
                <a:ext uri="{FF2B5EF4-FFF2-40B4-BE49-F238E27FC236}">
                  <a16:creationId xmlns:a16="http://schemas.microsoft.com/office/drawing/2014/main" id="{FAC3AB7A-2583-4658-9136-BA324BD78711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54" name="Vrije vorm: vorm 4911">
              <a:extLst>
                <a:ext uri="{FF2B5EF4-FFF2-40B4-BE49-F238E27FC236}">
                  <a16:creationId xmlns:a16="http://schemas.microsoft.com/office/drawing/2014/main" id="{C71F4A9C-FE68-45F4-9759-DC7F9D688760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aphic 4907">
            <a:extLst>
              <a:ext uri="{FF2B5EF4-FFF2-40B4-BE49-F238E27FC236}">
                <a16:creationId xmlns:a16="http://schemas.microsoft.com/office/drawing/2014/main" id="{CB81D5B0-8EBA-4ADA-B97C-1B547263B2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56" name="Vrije vorm: vorm 4913">
              <a:extLst>
                <a:ext uri="{FF2B5EF4-FFF2-40B4-BE49-F238E27FC236}">
                  <a16:creationId xmlns:a16="http://schemas.microsoft.com/office/drawing/2014/main" id="{D1255CF1-ACFC-4C77-8569-E24B7172CB4D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7" name="Vrije vorm: vorm 4914">
              <a:extLst>
                <a:ext uri="{FF2B5EF4-FFF2-40B4-BE49-F238E27FC236}">
                  <a16:creationId xmlns:a16="http://schemas.microsoft.com/office/drawing/2014/main" id="{D5E9E5AC-F91B-4A84-8FE5-924686616EF7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6" name="Firstname Lastname">
            <a:extLst>
              <a:ext uri="{FF2B5EF4-FFF2-40B4-BE49-F238E27FC236}">
                <a16:creationId xmlns:a16="http://schemas.microsoft.com/office/drawing/2014/main" id="{411E9401-EC09-478E-A9B1-7F39EE0E1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8" name="Position and Title">
            <a:extLst>
              <a:ext uri="{FF2B5EF4-FFF2-40B4-BE49-F238E27FC236}">
                <a16:creationId xmlns:a16="http://schemas.microsoft.com/office/drawing/2014/main" id="{AA8E0F45-751A-4330-8A52-962E992533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osition and Title</a:t>
            </a:r>
          </a:p>
        </p:txBody>
      </p:sp>
      <p:sp>
        <p:nvSpPr>
          <p:cNvPr id="10" name="Telephone">
            <a:extLst>
              <a:ext uri="{FF2B5EF4-FFF2-40B4-BE49-F238E27FC236}">
                <a16:creationId xmlns:a16="http://schemas.microsoft.com/office/drawing/2014/main" id="{3D171C7F-54D2-4D60-BCFF-93803838E6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13" name="Email">
            <a:extLst>
              <a:ext uri="{FF2B5EF4-FFF2-40B4-BE49-F238E27FC236}">
                <a16:creationId xmlns:a16="http://schemas.microsoft.com/office/drawing/2014/main" id="{0D64B803-F1AC-4FE0-A130-F5E7BB46B0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15" name="Location">
            <a:extLst>
              <a:ext uri="{FF2B5EF4-FFF2-40B4-BE49-F238E27FC236}">
                <a16:creationId xmlns:a16="http://schemas.microsoft.com/office/drawing/2014/main" id="{D42C81F4-24AA-4A92-BC47-EAB39A431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cation</a:t>
            </a:r>
          </a:p>
          <a:p>
            <a:pPr lvl="1"/>
            <a:endParaRPr lang="en-US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709E070-026E-4274-AAE0-13E74DB3601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3AB4656B-C517-4328-A934-38600A70F2C0}" type="datetime1">
              <a:rPr lang="nl-NL" smtClean="0"/>
              <a:t>29-4-2024</a:t>
            </a:fld>
            <a:endParaRPr lang="en-US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C805A902-97AB-47D4-B6F2-D811B996FF1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2C93483A-7A5D-4EC0-B723-E000C7C69E3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fld id="{A2218858-49EA-4BF8-8EFE-B88A4580565A}" type="slidenum">
              <a:rPr lang="en-US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921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Text" type="objOverTx">
  <p:cSld name="Title Content &#10;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399" y="1369800"/>
            <a:ext cx="10857863" cy="308948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800"/>
            <a:ext cx="10858500" cy="140477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4FC1AD-118A-479F-B6D9-E94E29C8D3F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34728BB3-46BD-49AC-BB47-80A43FECDB64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64B1D0-72DB-448B-852E-084AA83DB1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2BB846-FD72-404F-B0F8-B4CBB9109F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558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2809">
          <p15:clr>
            <a:srgbClr val="547EBF"/>
          </p15:clr>
        </p15:guide>
        <p15:guide id="8" orient="horz" pos="2926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tIns="36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000" baseline="0">
                <a:solidFill>
                  <a:schemeClr val="accent1"/>
                </a:solidFill>
              </a:defRPr>
            </a:lvl1pPr>
            <a:lvl2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2pPr>
            <a:lvl3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3pPr>
            <a:lvl4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5pPr>
            <a:lvl6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6pPr>
            <a:lvl7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7pPr>
            <a:lvl8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8pPr>
            <a:lvl9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95CED1D3-1FC8-4A3D-BC76-3245976F657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10857863" cy="4680163"/>
          </a:xfrm>
        </p:spPr>
        <p:txBody>
          <a:bodyPr/>
          <a:lstStyle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9D5BDC-1173-44FF-AFA5-8F2114E340A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EE27980-6425-45F1-925D-E2423A796158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CE3109-2B52-4738-928A-F7125818F0D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8341C4-4C0D-4BED-9235-74E019B48B8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46FDEC34-FCB4-4EAC-9BEA-21A661EFE34B}"/>
              </a:ext>
            </a:extLst>
          </p:cNvPr>
          <p:cNvSpPr>
            <a:spLocks/>
          </p:cNvSpPr>
          <p:nvPr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14481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863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3811">
          <p15:clr>
            <a:srgbClr val="547EBF"/>
          </p15:clr>
        </p15:guide>
        <p15:guide id="5" orient="horz" pos="3958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273">
          <p15:clr>
            <a:srgbClr val="547EBF"/>
          </p15:clr>
        </p15:guide>
        <p15:guide id="9" orient="horz" pos="509">
          <p15:clr>
            <a:srgbClr val="547EB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 preserve="1">
  <p:cSld name="Title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8" name="Hide background Logo">
            <a:extLst>
              <a:ext uri="{FF2B5EF4-FFF2-40B4-BE49-F238E27FC236}">
                <a16:creationId xmlns:a16="http://schemas.microsoft.com/office/drawing/2014/main" id="{CD7E7ADD-A5EE-4293-9821-A81FD429DCCC}"/>
              </a:ext>
            </a:extLst>
          </p:cNvPr>
          <p:cNvSpPr/>
          <p:nvPr/>
        </p:nvSpPr>
        <p:spPr>
          <a:xfrm>
            <a:off x="2928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4F6A1DCD-AFA3-44B1-BB26-956115725CC6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4505325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71B0F383-90A8-499E-9EBA-74E5BB3E8235}" type="datetime1">
              <a:rPr lang="nl-NL" smtClean="0"/>
              <a:t>29-4-2024</a:t>
            </a:fld>
            <a:endParaRPr lang="en-US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>
            <a:off x="-525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900A1DFC-F57B-4770-90BD-038EC73C411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Picture Placeholder (P41)">
            <a:extLst>
              <a:ext uri="{FF2B5EF4-FFF2-40B4-BE49-F238E27FC236}">
                <a16:creationId xmlns:a16="http://schemas.microsoft.com/office/drawing/2014/main" id="{D463EF9F-EC08-4F41-95E7-7BC682D3D8E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136750 w 12192000"/>
              <a:gd name="connsiteY0" fmla="*/ 5113800 h 6858000"/>
              <a:gd name="connsiteX1" fmla="*/ 4364400 w 12192000"/>
              <a:gd name="connsiteY1" fmla="*/ 5113800 h 6858000"/>
              <a:gd name="connsiteX2" fmla="*/ 12192000 w 12192000"/>
              <a:gd name="connsiteY2" fmla="*/ 5113800 h 6858000"/>
              <a:gd name="connsiteX3" fmla="*/ 12192000 w 12192000"/>
              <a:gd name="connsiteY3" fmla="*/ 6858000 h 6858000"/>
              <a:gd name="connsiteX4" fmla="*/ 4136750 w 12192000"/>
              <a:gd name="connsiteY4" fmla="*/ 6858000 h 6858000"/>
              <a:gd name="connsiteX5" fmla="*/ 0 w 12192000"/>
              <a:gd name="connsiteY5" fmla="*/ 5113800 h 6858000"/>
              <a:gd name="connsiteX6" fmla="*/ 4130400 w 12192000"/>
              <a:gd name="connsiteY6" fmla="*/ 5113800 h 6858000"/>
              <a:gd name="connsiteX7" fmla="*/ 4130400 w 12192000"/>
              <a:gd name="connsiteY7" fmla="*/ 6858000 h 6858000"/>
              <a:gd name="connsiteX8" fmla="*/ 0 w 12192000"/>
              <a:gd name="connsiteY8" fmla="*/ 6858000 h 6858000"/>
              <a:gd name="connsiteX9" fmla="*/ 0 w 12192000"/>
              <a:gd name="connsiteY9" fmla="*/ 0 h 6858000"/>
              <a:gd name="connsiteX10" fmla="*/ 4130400 w 12192000"/>
              <a:gd name="connsiteY10" fmla="*/ 0 h 6858000"/>
              <a:gd name="connsiteX11" fmla="*/ 4130400 w 12192000"/>
              <a:gd name="connsiteY11" fmla="*/ 5067000 h 6858000"/>
              <a:gd name="connsiteX12" fmla="*/ 4130400 w 12192000"/>
              <a:gd name="connsiteY12" fmla="*/ 5107450 h 6858000"/>
              <a:gd name="connsiteX13" fmla="*/ 0 w 12192000"/>
              <a:gd name="connsiteY13" fmla="*/ 5107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4136750" y="5113800"/>
                </a:moveTo>
                <a:lnTo>
                  <a:pt x="4364400" y="5113800"/>
                </a:lnTo>
                <a:lnTo>
                  <a:pt x="12192000" y="5113800"/>
                </a:lnTo>
                <a:lnTo>
                  <a:pt x="12192000" y="6858000"/>
                </a:lnTo>
                <a:lnTo>
                  <a:pt x="4136750" y="6858000"/>
                </a:lnTo>
                <a:close/>
                <a:moveTo>
                  <a:pt x="0" y="5113800"/>
                </a:moveTo>
                <a:lnTo>
                  <a:pt x="4130400" y="5113800"/>
                </a:lnTo>
                <a:lnTo>
                  <a:pt x="4130400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130400" y="0"/>
                </a:lnTo>
                <a:lnTo>
                  <a:pt x="4130400" y="5067000"/>
                </a:lnTo>
                <a:lnTo>
                  <a:pt x="4130400" y="5107450"/>
                </a:lnTo>
                <a:lnTo>
                  <a:pt x="0" y="5107450"/>
                </a:lnTo>
                <a:close/>
              </a:path>
            </a:pathLst>
          </a:custGeom>
          <a:noFill/>
        </p:spPr>
        <p:txBody>
          <a:bodyPr wrap="square" lIns="396000" rIns="396000" bIns="468000" anchor="ctr" anchorCtr="0">
            <a:noAutofit/>
          </a:bodyPr>
          <a:lstStyle>
            <a:lvl1pPr algn="l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on area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0CA825D8-8A74-4D85-9E5D-DA0C5C57A3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325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heading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B79FE9FA-B090-40ED-A66C-FC46A2929F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/>
              <a:t>Click to edit subheading</a:t>
            </a:r>
          </a:p>
        </p:txBody>
      </p: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IO_AGENDA_IGNORE_NAVIGATION" hidden="1">
            <a:extLst>
              <a:ext uri="{FF2B5EF4-FFF2-40B4-BE49-F238E27FC236}">
                <a16:creationId xmlns:a16="http://schemas.microsoft.com/office/drawing/2014/main" id="{287EF10B-E93F-4F89-9FB3-1A347169686C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8" name="MIO_AGENDA_IGNORE_CHAPTER_REFERENCE" hidden="1">
            <a:extLst>
              <a:ext uri="{FF2B5EF4-FFF2-40B4-BE49-F238E27FC236}">
                <a16:creationId xmlns:a16="http://schemas.microsoft.com/office/drawing/2014/main" id="{C4F5FA7D-3698-4E1D-9882-6F3C343465A7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Firstname Lastname">
            <a:extLst>
              <a:ext uri="{FF2B5EF4-FFF2-40B4-BE49-F238E27FC236}">
                <a16:creationId xmlns:a16="http://schemas.microsoft.com/office/drawing/2014/main" id="{44F94BEC-5FEE-4E23-9B49-21A45B711E9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04799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4" name="Position and Title">
            <a:extLst>
              <a:ext uri="{FF2B5EF4-FFF2-40B4-BE49-F238E27FC236}">
                <a16:creationId xmlns:a16="http://schemas.microsoft.com/office/drawing/2014/main" id="{AF3DCBE4-97FE-41EF-8901-C12C7A998A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504799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osition and Title</a:t>
            </a:r>
          </a:p>
        </p:txBody>
      </p:sp>
      <p:sp>
        <p:nvSpPr>
          <p:cNvPr id="16" name="Location">
            <a:extLst>
              <a:ext uri="{FF2B5EF4-FFF2-40B4-BE49-F238E27FC236}">
                <a16:creationId xmlns:a16="http://schemas.microsoft.com/office/drawing/2014/main" id="{65FC8929-EAC1-44D3-88E2-9306D0D4B23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504799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18" name="Version">
            <a:extLst>
              <a:ext uri="{FF2B5EF4-FFF2-40B4-BE49-F238E27FC236}">
                <a16:creationId xmlns:a16="http://schemas.microsoft.com/office/drawing/2014/main" id="{A1534518-BDDC-41CB-B717-67772836121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04799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39803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pos="6523">
          <p15:clr>
            <a:srgbClr val="FFFFFF"/>
          </p15:clr>
        </p15:guide>
        <p15:guide id="4" orient="horz" pos="1570">
          <p15:clr>
            <a:srgbClr val="FFFFFF"/>
          </p15:clr>
        </p15:guide>
        <p15:guide id="5" orient="horz" pos="1806">
          <p15:clr>
            <a:srgbClr val="FFFF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tIns="36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000" baseline="0">
                <a:solidFill>
                  <a:schemeClr val="accent1"/>
                </a:solidFill>
              </a:defRPr>
            </a:lvl1pPr>
            <a:lvl2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2pPr>
            <a:lvl3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3pPr>
            <a:lvl4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5pPr>
            <a:lvl6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6pPr>
            <a:lvl7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7pPr>
            <a:lvl8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8pPr>
            <a:lvl9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95CED1D3-1FC8-4A3D-BC76-3245976F657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10857863" cy="4680163"/>
          </a:xfrm>
        </p:spPr>
        <p:txBody>
          <a:bodyPr/>
          <a:lstStyle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9D5BDC-1173-44FF-AFA5-8F2114E340A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45F7E750-E96D-45F9-B953-4FC2435642FC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CE3109-2B52-4738-928A-F7125818F0D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8341C4-4C0D-4BED-9235-74E019B48B8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46FDEC34-FCB4-4EAC-9BEA-21A661EFE34B}"/>
              </a:ext>
            </a:extLst>
          </p:cNvPr>
          <p:cNvSpPr>
            <a:spLocks/>
          </p:cNvSpPr>
          <p:nvPr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95889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863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3811">
          <p15:clr>
            <a:srgbClr val="547EBF"/>
          </p15:clr>
        </p15:guide>
        <p15:guide id="5" orient="horz" pos="3958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273">
          <p15:clr>
            <a:srgbClr val="547EBF"/>
          </p15:clr>
        </p15:guide>
        <p15:guide id="9" orient="horz" pos="509">
          <p15:clr>
            <a:srgbClr val="547EB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" preserve="1">
  <p:cSld name="End slide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Hide background Logo">
            <a:extLst>
              <a:ext uri="{FF2B5EF4-FFF2-40B4-BE49-F238E27FC236}">
                <a16:creationId xmlns:a16="http://schemas.microsoft.com/office/drawing/2014/main" id="{0C3579B9-3ADA-4588-BB3E-E3EBFB6BF267}"/>
              </a:ext>
            </a:extLst>
          </p:cNvPr>
          <p:cNvSpPr/>
          <p:nvPr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455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1391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0CD295C-95AB-4825-87D7-B3A7F8DCFDD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9396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9EA2067-06E6-4FB3-A618-7AA7C1C011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190800" y="-44552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E126F36-B98E-46D3-B603-5E778BC5212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5442000" y="-44508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BC02083-9AF7-4E76-94A4-CD5D9F2E6B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4693200" y="-44464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3BEE4F6-8A6B-4068-B86D-89DFDC70E62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-4442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anks</a:t>
            </a:r>
          </a:p>
          <a:p>
            <a:pPr lvl="1"/>
            <a:endParaRPr lang="en-US"/>
          </a:p>
        </p:txBody>
      </p:sp>
      <p:sp>
        <p:nvSpPr>
          <p:cNvPr id="39" name="MIO_AGENDA_IGNORE_NAVIGATION" hidden="1">
            <a:extLst>
              <a:ext uri="{FF2B5EF4-FFF2-40B4-BE49-F238E27FC236}">
                <a16:creationId xmlns:a16="http://schemas.microsoft.com/office/drawing/2014/main" id="{C3FBE8F4-38D0-493A-A7BB-33E9441676CE}"/>
              </a:ext>
            </a:extLst>
          </p:cNvPr>
          <p:cNvSpPr/>
          <p:nvPr/>
        </p:nvSpPr>
        <p:spPr>
          <a:xfrm>
            <a:off x="1179080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0" name="MIO_AGENDA_IGNORE_CHAPTER_REFERENCE" hidden="1">
            <a:extLst>
              <a:ext uri="{FF2B5EF4-FFF2-40B4-BE49-F238E27FC236}">
                <a16:creationId xmlns:a16="http://schemas.microsoft.com/office/drawing/2014/main" id="{F94A61A7-7AEE-4282-83AB-F464ED2636DA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3" name="MIO_AGENDA_LAST_SLIDE" hidden="1">
            <a:extLst>
              <a:ext uri="{FF2B5EF4-FFF2-40B4-BE49-F238E27FC236}">
                <a16:creationId xmlns:a16="http://schemas.microsoft.com/office/drawing/2014/main" id="{7049BCE7-7BC9-455B-8C84-08F8B9A0FB1E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5" name="Logo">
            <a:extLst>
              <a:ext uri="{FF2B5EF4-FFF2-40B4-BE49-F238E27FC236}">
                <a16:creationId xmlns:a16="http://schemas.microsoft.com/office/drawing/2014/main" id="{562F8F28-5BE4-41C6-8A66-09C03AA22E21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aphic 4907" hidden="1">
            <a:extLst>
              <a:ext uri="{FF2B5EF4-FFF2-40B4-BE49-F238E27FC236}">
                <a16:creationId xmlns:a16="http://schemas.microsoft.com/office/drawing/2014/main" id="{22AFA129-B012-46CD-AC08-0FE087D3976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47" name="Vrije vorm: vorm 4910" hidden="1">
              <a:extLst>
                <a:ext uri="{FF2B5EF4-FFF2-40B4-BE49-F238E27FC236}">
                  <a16:creationId xmlns:a16="http://schemas.microsoft.com/office/drawing/2014/main" id="{FAC3AB7A-2583-4658-9136-BA324BD78711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54" name="Vrije vorm: vorm 4911" hidden="1">
              <a:extLst>
                <a:ext uri="{FF2B5EF4-FFF2-40B4-BE49-F238E27FC236}">
                  <a16:creationId xmlns:a16="http://schemas.microsoft.com/office/drawing/2014/main" id="{C71F4A9C-FE68-45F4-9759-DC7F9D688760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aphic 4907" hidden="1">
            <a:extLst>
              <a:ext uri="{FF2B5EF4-FFF2-40B4-BE49-F238E27FC236}">
                <a16:creationId xmlns:a16="http://schemas.microsoft.com/office/drawing/2014/main" id="{CB81D5B0-8EBA-4ADA-B97C-1B547263B2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56" name="Vrije vorm: vorm 4913" hidden="1">
              <a:extLst>
                <a:ext uri="{FF2B5EF4-FFF2-40B4-BE49-F238E27FC236}">
                  <a16:creationId xmlns:a16="http://schemas.microsoft.com/office/drawing/2014/main" id="{D1255CF1-ACFC-4C77-8569-E24B7172CB4D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7" name="Vrije vorm: vorm 4914" hidden="1">
              <a:extLst>
                <a:ext uri="{FF2B5EF4-FFF2-40B4-BE49-F238E27FC236}">
                  <a16:creationId xmlns:a16="http://schemas.microsoft.com/office/drawing/2014/main" id="{D5E9E5AC-F91B-4A84-8FE5-924686616EF7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6" name="Firstname Lastname">
            <a:extLst>
              <a:ext uri="{FF2B5EF4-FFF2-40B4-BE49-F238E27FC236}">
                <a16:creationId xmlns:a16="http://schemas.microsoft.com/office/drawing/2014/main" id="{411E9401-EC09-478E-A9B1-7F39EE0E1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8" name="Position and Title">
            <a:extLst>
              <a:ext uri="{FF2B5EF4-FFF2-40B4-BE49-F238E27FC236}">
                <a16:creationId xmlns:a16="http://schemas.microsoft.com/office/drawing/2014/main" id="{AA8E0F45-751A-4330-8A52-962E992533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osition and Title</a:t>
            </a:r>
          </a:p>
        </p:txBody>
      </p:sp>
      <p:sp>
        <p:nvSpPr>
          <p:cNvPr id="10" name="Telephone">
            <a:extLst>
              <a:ext uri="{FF2B5EF4-FFF2-40B4-BE49-F238E27FC236}">
                <a16:creationId xmlns:a16="http://schemas.microsoft.com/office/drawing/2014/main" id="{3D171C7F-54D2-4D60-BCFF-93803838E6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13" name="Email">
            <a:extLst>
              <a:ext uri="{FF2B5EF4-FFF2-40B4-BE49-F238E27FC236}">
                <a16:creationId xmlns:a16="http://schemas.microsoft.com/office/drawing/2014/main" id="{0D64B803-F1AC-4FE0-A130-F5E7BB46B0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15" name="Location">
            <a:extLst>
              <a:ext uri="{FF2B5EF4-FFF2-40B4-BE49-F238E27FC236}">
                <a16:creationId xmlns:a16="http://schemas.microsoft.com/office/drawing/2014/main" id="{D42C81F4-24AA-4A92-BC47-EAB39A431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cation</a:t>
            </a:r>
          </a:p>
          <a:p>
            <a:pPr lvl="1"/>
            <a:endParaRPr lang="en-US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709E070-026E-4274-AAE0-13E74DB3601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592C11E7-8822-41AA-AB01-49C5FD381BB0}" type="datetime1">
              <a:rPr lang="nl-NL" smtClean="0"/>
              <a:t>29-4-2024</a:t>
            </a:fld>
            <a:endParaRPr lang="en-US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C805A902-97AB-47D4-B6F2-D811B996FF1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2C93483A-7A5D-4EC0-B723-E000C7C69E3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fld id="{A2218858-49EA-4BF8-8EFE-B88A4580565A}" type="slidenum">
              <a:rPr lang="en-US"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162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2" preserve="1">
  <p:cSld name="Title Slide 2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1" name="Hide background Logo">
            <a:extLst>
              <a:ext uri="{FF2B5EF4-FFF2-40B4-BE49-F238E27FC236}">
                <a16:creationId xmlns:a16="http://schemas.microsoft.com/office/drawing/2014/main" id="{78140037-05AE-4719-ADE1-27B81AE5C796}"/>
              </a:ext>
            </a:extLst>
          </p:cNvPr>
          <p:cNvSpPr/>
          <p:nvPr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28724634-FC2F-49E4-BF14-FA465D8DEE7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067950 w 12192000"/>
              <a:gd name="connsiteY0" fmla="*/ 5120150 h 6858000"/>
              <a:gd name="connsiteX1" fmla="*/ 12192000 w 12192000"/>
              <a:gd name="connsiteY1" fmla="*/ 5120150 h 6858000"/>
              <a:gd name="connsiteX2" fmla="*/ 12192000 w 12192000"/>
              <a:gd name="connsiteY2" fmla="*/ 6858000 h 6858000"/>
              <a:gd name="connsiteX3" fmla="*/ 8067950 w 12192000"/>
              <a:gd name="connsiteY3" fmla="*/ 6858000 h 6858000"/>
              <a:gd name="connsiteX4" fmla="*/ 0 w 12192000"/>
              <a:gd name="connsiteY4" fmla="*/ 5120150 h 6858000"/>
              <a:gd name="connsiteX5" fmla="*/ 8061600 w 12192000"/>
              <a:gd name="connsiteY5" fmla="*/ 5120150 h 6858000"/>
              <a:gd name="connsiteX6" fmla="*/ 8061600 w 12192000"/>
              <a:gd name="connsiteY6" fmla="*/ 6858000 h 6858000"/>
              <a:gd name="connsiteX7" fmla="*/ 0 w 12192000"/>
              <a:gd name="connsiteY7" fmla="*/ 6858000 h 6858000"/>
              <a:gd name="connsiteX8" fmla="*/ 806795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5113800 h 6858000"/>
              <a:gd name="connsiteX11" fmla="*/ 8067950 w 12192000"/>
              <a:gd name="connsiteY11" fmla="*/ 5113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67950" y="5120150"/>
                </a:moveTo>
                <a:lnTo>
                  <a:pt x="12192000" y="5120150"/>
                </a:lnTo>
                <a:lnTo>
                  <a:pt x="12192000" y="6858000"/>
                </a:lnTo>
                <a:lnTo>
                  <a:pt x="8067950" y="6858000"/>
                </a:lnTo>
                <a:close/>
                <a:moveTo>
                  <a:pt x="0" y="5120150"/>
                </a:moveTo>
                <a:lnTo>
                  <a:pt x="8061600" y="5120150"/>
                </a:lnTo>
                <a:lnTo>
                  <a:pt x="8061600" y="6858000"/>
                </a:lnTo>
                <a:lnTo>
                  <a:pt x="0" y="6858000"/>
                </a:lnTo>
                <a:close/>
                <a:moveTo>
                  <a:pt x="8067950" y="0"/>
                </a:moveTo>
                <a:lnTo>
                  <a:pt x="12192000" y="0"/>
                </a:lnTo>
                <a:lnTo>
                  <a:pt x="12192000" y="5113800"/>
                </a:lnTo>
                <a:lnTo>
                  <a:pt x="8067950" y="5113800"/>
                </a:lnTo>
                <a:close/>
              </a:path>
            </a:pathLst>
          </a:custGeom>
          <a:noFill/>
        </p:spPr>
        <p:txBody>
          <a:bodyPr vert="horz" wrap="square" lIns="396000" tIns="0" rIns="396000" bIns="468000" rtlCol="0" anchor="ctr" anchorCtr="0">
            <a:noAutofit/>
          </a:bodyPr>
          <a:lstStyle>
            <a:lvl1pPr algn="r"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on area to add picture</a:t>
            </a:r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 flipH="1">
            <a:off x="0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D75BB555-162A-44B2-96BD-4FB1C1A4B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5992870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MIO_AGENDA_IGNORE_NAVIGATION" hidden="1">
            <a:extLst>
              <a:ext uri="{FF2B5EF4-FFF2-40B4-BE49-F238E27FC236}">
                <a16:creationId xmlns:a16="http://schemas.microsoft.com/office/drawing/2014/main" id="{FDC5ACF3-2095-4CCB-B69B-BAAD8356247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9" name="MIO_AGENDA_IGNORE_CHAPTER_REFERENCE" hidden="1">
            <a:extLst>
              <a:ext uri="{FF2B5EF4-FFF2-40B4-BE49-F238E27FC236}">
                <a16:creationId xmlns:a16="http://schemas.microsoft.com/office/drawing/2014/main" id="{C759E26B-7FE4-470B-BFA8-6BC2F2DCC023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0" name="Date Placeholder">
            <a:extLst>
              <a:ext uri="{FF2B5EF4-FFF2-40B4-BE49-F238E27FC236}">
                <a16:creationId xmlns:a16="http://schemas.microsoft.com/office/drawing/2014/main" id="{647B78B9-A503-40FD-AF98-15AB8F88095A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386926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442823D7-6F99-494E-81C3-9CF4920A1553}" type="datetime1">
              <a:rPr lang="nl-NL" smtClean="0"/>
              <a:t>29-4-2024</a:t>
            </a:fld>
            <a:endParaRPr lang="en-US"/>
          </a:p>
        </p:txBody>
      </p:sp>
      <p:sp>
        <p:nvSpPr>
          <p:cNvPr id="56" name="Title">
            <a:extLst>
              <a:ext uri="{FF2B5EF4-FFF2-40B4-BE49-F238E27FC236}">
                <a16:creationId xmlns:a16="http://schemas.microsoft.com/office/drawing/2014/main" id="{C6842291-ECA2-419F-9FDE-5F0D1C885C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6926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heading</a:t>
            </a:r>
          </a:p>
        </p:txBody>
      </p:sp>
      <p:sp>
        <p:nvSpPr>
          <p:cNvPr id="57" name="Subtitle">
            <a:extLst>
              <a:ext uri="{FF2B5EF4-FFF2-40B4-BE49-F238E27FC236}">
                <a16:creationId xmlns:a16="http://schemas.microsoft.com/office/drawing/2014/main" id="{2F1235BC-9462-4616-91F5-2C03AA429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926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/>
              <a:t>Click to edit subheading</a:t>
            </a:r>
          </a:p>
        </p:txBody>
      </p:sp>
      <p:sp>
        <p:nvSpPr>
          <p:cNvPr id="58" name="Firstname Lastname">
            <a:extLst>
              <a:ext uri="{FF2B5EF4-FFF2-40B4-BE49-F238E27FC236}">
                <a16:creationId xmlns:a16="http://schemas.microsoft.com/office/drawing/2014/main" id="{65DFEF20-E93B-4E47-9759-0A3251D2E56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6400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59" name="Position and Title">
            <a:extLst>
              <a:ext uri="{FF2B5EF4-FFF2-40B4-BE49-F238E27FC236}">
                <a16:creationId xmlns:a16="http://schemas.microsoft.com/office/drawing/2014/main" id="{EDD67CC3-05DB-42F1-8C06-E35E36F16A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86400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osition and Title</a:t>
            </a:r>
          </a:p>
        </p:txBody>
      </p:sp>
      <p:sp>
        <p:nvSpPr>
          <p:cNvPr id="61" name="Location">
            <a:extLst>
              <a:ext uri="{FF2B5EF4-FFF2-40B4-BE49-F238E27FC236}">
                <a16:creationId xmlns:a16="http://schemas.microsoft.com/office/drawing/2014/main" id="{C42A08FB-7D66-4F1F-B6EE-667DA0F0E6F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6400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62" name="Version">
            <a:extLst>
              <a:ext uri="{FF2B5EF4-FFF2-40B4-BE49-F238E27FC236}">
                <a16:creationId xmlns:a16="http://schemas.microsoft.com/office/drawing/2014/main" id="{0A2C16C9-903A-4D1F-8880-2E77A8AEC44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86400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733442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95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orient="horz" pos="1570">
          <p15:clr>
            <a:srgbClr val="FFFFFF"/>
          </p15:clr>
        </p15:guide>
        <p15:guide id="4" orient="horz" pos="1806">
          <p15:clr>
            <a:srgbClr val="FFFFFF"/>
          </p15:clr>
        </p15:guide>
        <p15:guide id="5" pos="243">
          <p15:clr>
            <a:srgbClr val="FFFF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1" type="secHead" preserve="1">
  <p:cSld name="Chapter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Hide background Logo">
            <a:extLst>
              <a:ext uri="{FF2B5EF4-FFF2-40B4-BE49-F238E27FC236}">
                <a16:creationId xmlns:a16="http://schemas.microsoft.com/office/drawing/2014/main" id="{9AA93AB3-0D1A-4E84-9AA9-73865D3A1A0A}"/>
              </a:ext>
            </a:extLst>
          </p:cNvPr>
          <p:cNvSpPr/>
          <p:nvPr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512D9B27-7620-4033-B8DC-DCFE3B066C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48800" y="0"/>
            <a:ext cx="39432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88860927-13CA-4929-8F7F-EB0BA3BEB9A3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3F8F58E6-264F-49BF-B46C-3E566C1C4182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Logo">
            <a:extLst>
              <a:ext uri="{FF2B5EF4-FFF2-40B4-BE49-F238E27FC236}">
                <a16:creationId xmlns:a16="http://schemas.microsoft.com/office/drawing/2014/main" id="{5307DD17-86A9-4B5C-B16C-3B30F4057276}"/>
              </a:ext>
            </a:extLst>
          </p:cNvPr>
          <p:cNvSpPr>
            <a:spLocks/>
          </p:cNvSpPr>
          <p:nvPr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>
              <a:latin typeface="+mn-lt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08120-FAE8-4FF8-8A74-A6392B5F43E4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57AD9A83-A6B9-4169-A7E8-DFD338B49137}" type="datetime1">
              <a:rPr lang="nl-NL" smtClean="0"/>
              <a:t>29-4-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AF603-2E05-4A18-BD07-01E2B59E61B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B2B88A-C108-43E1-99A0-51A5C6561ABA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785555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09">
          <p15:clr>
            <a:srgbClr val="FFFFFF"/>
          </p15:clr>
        </p15:guide>
        <p15:guide id="2" pos="243">
          <p15:clr>
            <a:srgbClr val="FFFFFF"/>
          </p15:clr>
        </p15:guide>
        <p15:guide id="3" pos="4960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9E3FD5-7CB4-4207-A28B-A5D53451BC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D0CAD6-A969-477C-B092-1A32B1D25C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E5BC54-FDB8-4EFC-AFE7-FF54F7D053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6817B-F146-42B1-8982-9ED69EF64E7C}" type="datetime1">
              <a:rPr lang="nl-NL" smtClean="0"/>
              <a:t>29-4-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F2602A-8EA6-477E-A378-049A1CBE5F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7B0D2F-FD58-4ED7-9CB2-AF493F358C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85CC8-B913-452D-ADAA-DC4EF85366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9032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2 &#10;light picture" preserve="1">
  <p:cSld name="Chapter Slide 2 &#10;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id Decoration">
            <a:extLst>
              <a:ext uri="{FF2B5EF4-FFF2-40B4-BE49-F238E27FC236}">
                <a16:creationId xmlns:a16="http://schemas.microsoft.com/office/drawing/2014/main" id="{774E18E1-C992-4162-B1EC-0650D0B80336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06B1598-EDE8-474C-8616-E3E2BC9D0CB7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AA6FC05-D72B-4CDF-9B4A-9BE92C162CE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6D5A539-C0D0-42F3-A3B4-8CEC059911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6FB3BC4-9371-4632-BD28-7EC33F3167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001F0BA-4780-4F20-803F-796D2E3378D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AB56068-0BA8-4D06-A50F-762DBC25FB2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3E28C3A0-91EB-4D53-81C1-DD748B4B349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3CBFA43-A9E2-41D1-87ED-6D96CE297E4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F9E1E8C-89B5-43FC-BFAD-F6B7083D66B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66AB9E-A9F5-4723-8306-82FCCE684AE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A8B8685-B671-45FF-BA2F-31E0A822350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453507 w 12192000"/>
              <a:gd name="connsiteY0" fmla="*/ 6548544 h 6858000"/>
              <a:gd name="connsiteX1" fmla="*/ 466171 w 12192000"/>
              <a:gd name="connsiteY1" fmla="*/ 6607426 h 6858000"/>
              <a:gd name="connsiteX2" fmla="*/ 440212 w 12192000"/>
              <a:gd name="connsiteY2" fmla="*/ 6607426 h 6858000"/>
              <a:gd name="connsiteX3" fmla="*/ 582667 w 12192000"/>
              <a:gd name="connsiteY3" fmla="*/ 6546012 h 6858000"/>
              <a:gd name="connsiteX4" fmla="*/ 576335 w 12192000"/>
              <a:gd name="connsiteY4" fmla="*/ 6601094 h 6858000"/>
              <a:gd name="connsiteX5" fmla="*/ 591531 w 12192000"/>
              <a:gd name="connsiteY5" fmla="*/ 6617556 h 6858000"/>
              <a:gd name="connsiteX6" fmla="*/ 569371 w 12192000"/>
              <a:gd name="connsiteY6" fmla="*/ 6634017 h 6858000"/>
              <a:gd name="connsiteX7" fmla="*/ 529483 w 12192000"/>
              <a:gd name="connsiteY7" fmla="*/ 6619455 h 6858000"/>
              <a:gd name="connsiteX8" fmla="*/ 529483 w 12192000"/>
              <a:gd name="connsiteY8" fmla="*/ 6653645 h 6858000"/>
              <a:gd name="connsiteX9" fmla="*/ 596596 w 12192000"/>
              <a:gd name="connsiteY9" fmla="*/ 6660609 h 6858000"/>
              <a:gd name="connsiteX10" fmla="*/ 635217 w 12192000"/>
              <a:gd name="connsiteY10" fmla="*/ 6618189 h 6858000"/>
              <a:gd name="connsiteX11" fmla="*/ 594696 w 12192000"/>
              <a:gd name="connsiteY11" fmla="*/ 6574503 h 6858000"/>
              <a:gd name="connsiteX12" fmla="*/ 572537 w 12192000"/>
              <a:gd name="connsiteY12" fmla="*/ 6557408 h 6858000"/>
              <a:gd name="connsiteX13" fmla="*/ 582667 w 12192000"/>
              <a:gd name="connsiteY13" fmla="*/ 6546012 h 6858000"/>
              <a:gd name="connsiteX14" fmla="*/ 832120 w 12192000"/>
              <a:gd name="connsiteY14" fmla="*/ 6517521 h 6858000"/>
              <a:gd name="connsiteX15" fmla="*/ 832120 w 12192000"/>
              <a:gd name="connsiteY15" fmla="*/ 6660609 h 6858000"/>
              <a:gd name="connsiteX16" fmla="*/ 923924 w 12192000"/>
              <a:gd name="connsiteY16" fmla="*/ 6660609 h 6858000"/>
              <a:gd name="connsiteX17" fmla="*/ 923924 w 12192000"/>
              <a:gd name="connsiteY17" fmla="*/ 6630852 h 6858000"/>
              <a:gd name="connsiteX18" fmla="*/ 871374 w 12192000"/>
              <a:gd name="connsiteY18" fmla="*/ 6630852 h 6858000"/>
              <a:gd name="connsiteX19" fmla="*/ 871374 w 12192000"/>
              <a:gd name="connsiteY19" fmla="*/ 6517521 h 6858000"/>
              <a:gd name="connsiteX20" fmla="*/ 667506 w 12192000"/>
              <a:gd name="connsiteY20" fmla="*/ 6517521 h 6858000"/>
              <a:gd name="connsiteX21" fmla="*/ 648513 w 12192000"/>
              <a:gd name="connsiteY21" fmla="*/ 6660609 h 6858000"/>
              <a:gd name="connsiteX22" fmla="*/ 689033 w 12192000"/>
              <a:gd name="connsiteY22" fmla="*/ 6660609 h 6858000"/>
              <a:gd name="connsiteX23" fmla="*/ 695997 w 12192000"/>
              <a:gd name="connsiteY23" fmla="*/ 6570071 h 6858000"/>
              <a:gd name="connsiteX24" fmla="*/ 714358 w 12192000"/>
              <a:gd name="connsiteY24" fmla="*/ 6660609 h 6858000"/>
              <a:gd name="connsiteX25" fmla="*/ 746014 w 12192000"/>
              <a:gd name="connsiteY25" fmla="*/ 6660609 h 6858000"/>
              <a:gd name="connsiteX26" fmla="*/ 765009 w 12192000"/>
              <a:gd name="connsiteY26" fmla="*/ 6570071 h 6858000"/>
              <a:gd name="connsiteX27" fmla="*/ 771973 w 12192000"/>
              <a:gd name="connsiteY27" fmla="*/ 6660609 h 6858000"/>
              <a:gd name="connsiteX28" fmla="*/ 812493 w 12192000"/>
              <a:gd name="connsiteY28" fmla="*/ 6660609 h 6858000"/>
              <a:gd name="connsiteX29" fmla="*/ 793500 w 12192000"/>
              <a:gd name="connsiteY29" fmla="*/ 6517521 h 6858000"/>
              <a:gd name="connsiteX30" fmla="*/ 750446 w 12192000"/>
              <a:gd name="connsiteY30" fmla="*/ 6517521 h 6858000"/>
              <a:gd name="connsiteX31" fmla="*/ 730187 w 12192000"/>
              <a:gd name="connsiteY31" fmla="*/ 6603627 h 6858000"/>
              <a:gd name="connsiteX32" fmla="*/ 710559 w 12192000"/>
              <a:gd name="connsiteY32" fmla="*/ 6517521 h 6858000"/>
              <a:gd name="connsiteX33" fmla="*/ 428816 w 12192000"/>
              <a:gd name="connsiteY33" fmla="*/ 6517521 h 6858000"/>
              <a:gd name="connsiteX34" fmla="*/ 385763 w 12192000"/>
              <a:gd name="connsiteY34" fmla="*/ 6660609 h 6858000"/>
              <a:gd name="connsiteX35" fmla="*/ 428816 w 12192000"/>
              <a:gd name="connsiteY35" fmla="*/ 6660609 h 6858000"/>
              <a:gd name="connsiteX36" fmla="*/ 434514 w 12192000"/>
              <a:gd name="connsiteY36" fmla="*/ 6634651 h 6858000"/>
              <a:gd name="connsiteX37" fmla="*/ 471869 w 12192000"/>
              <a:gd name="connsiteY37" fmla="*/ 6634651 h 6858000"/>
              <a:gd name="connsiteX38" fmla="*/ 477567 w 12192000"/>
              <a:gd name="connsiteY38" fmla="*/ 6660609 h 6858000"/>
              <a:gd name="connsiteX39" fmla="*/ 520620 w 12192000"/>
              <a:gd name="connsiteY39" fmla="*/ 6660609 h 6858000"/>
              <a:gd name="connsiteX40" fmla="*/ 477567 w 12192000"/>
              <a:gd name="connsiteY40" fmla="*/ 6517521 h 6858000"/>
              <a:gd name="connsiteX41" fmla="*/ 593728 w 12192000"/>
              <a:gd name="connsiteY41" fmla="*/ 6513050 h 6858000"/>
              <a:gd name="connsiteX42" fmla="*/ 532650 w 12192000"/>
              <a:gd name="connsiteY42" fmla="*/ 6567538 h 6858000"/>
              <a:gd name="connsiteX43" fmla="*/ 624454 w 12192000"/>
              <a:gd name="connsiteY43" fmla="*/ 6557409 h 6858000"/>
              <a:gd name="connsiteX44" fmla="*/ 624454 w 12192000"/>
              <a:gd name="connsiteY44" fmla="*/ 6520054 h 6858000"/>
              <a:gd name="connsiteX45" fmla="*/ 593728 w 12192000"/>
              <a:gd name="connsiteY45" fmla="*/ 6513050 h 6858000"/>
              <a:gd name="connsiteX46" fmla="*/ 8248799 w 12192000"/>
              <a:gd name="connsiteY46" fmla="*/ 5588150 h 6858000"/>
              <a:gd name="connsiteX47" fmla="*/ 12192000 w 12192000"/>
              <a:gd name="connsiteY47" fmla="*/ 5588150 h 6858000"/>
              <a:gd name="connsiteX48" fmla="*/ 12192000 w 12192000"/>
              <a:gd name="connsiteY48" fmla="*/ 6858000 h 6858000"/>
              <a:gd name="connsiteX49" fmla="*/ 8248799 w 12192000"/>
              <a:gd name="connsiteY49" fmla="*/ 6858000 h 6858000"/>
              <a:gd name="connsiteX50" fmla="*/ 0 w 12192000"/>
              <a:gd name="connsiteY50" fmla="*/ 5588150 h 6858000"/>
              <a:gd name="connsiteX51" fmla="*/ 8242449 w 12192000"/>
              <a:gd name="connsiteY51" fmla="*/ 5588150 h 6858000"/>
              <a:gd name="connsiteX52" fmla="*/ 8242449 w 12192000"/>
              <a:gd name="connsiteY52" fmla="*/ 6858000 h 6858000"/>
              <a:gd name="connsiteX53" fmla="*/ 0 w 12192000"/>
              <a:gd name="connsiteY53" fmla="*/ 6858000 h 6858000"/>
              <a:gd name="connsiteX54" fmla="*/ 8248799 w 12192000"/>
              <a:gd name="connsiteY54" fmla="*/ 0 h 6858000"/>
              <a:gd name="connsiteX55" fmla="*/ 12192000 w 12192000"/>
              <a:gd name="connsiteY55" fmla="*/ 0 h 6858000"/>
              <a:gd name="connsiteX56" fmla="*/ 12192000 w 12192000"/>
              <a:gd name="connsiteY56" fmla="*/ 5581800 h 6858000"/>
              <a:gd name="connsiteX57" fmla="*/ 8248799 w 12192000"/>
              <a:gd name="connsiteY57" fmla="*/ 5581800 h 6858000"/>
              <a:gd name="connsiteX58" fmla="*/ 0 w 12192000"/>
              <a:gd name="connsiteY58" fmla="*/ 0 h 6858000"/>
              <a:gd name="connsiteX59" fmla="*/ 8242449 w 12192000"/>
              <a:gd name="connsiteY59" fmla="*/ 0 h 6858000"/>
              <a:gd name="connsiteX60" fmla="*/ 8242449 w 12192000"/>
              <a:gd name="connsiteY60" fmla="*/ 5581800 h 6858000"/>
              <a:gd name="connsiteX61" fmla="*/ 0 w 12192000"/>
              <a:gd name="connsiteY61" fmla="*/ 5581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58000">
                <a:moveTo>
                  <a:pt x="453507" y="6548544"/>
                </a:moveTo>
                <a:lnTo>
                  <a:pt x="466171" y="6607426"/>
                </a:lnTo>
                <a:lnTo>
                  <a:pt x="440212" y="6607426"/>
                </a:lnTo>
                <a:close/>
                <a:moveTo>
                  <a:pt x="582667" y="6546012"/>
                </a:moveTo>
                <a:cubicBezTo>
                  <a:pt x="554176" y="6549177"/>
                  <a:pt x="544679" y="6584000"/>
                  <a:pt x="576335" y="6601094"/>
                </a:cubicBezTo>
                <a:cubicBezTo>
                  <a:pt x="582034" y="6604260"/>
                  <a:pt x="591531" y="6607426"/>
                  <a:pt x="591531" y="6617556"/>
                </a:cubicBezTo>
                <a:cubicBezTo>
                  <a:pt x="591531" y="6629585"/>
                  <a:pt x="578235" y="6634017"/>
                  <a:pt x="569371" y="6634017"/>
                </a:cubicBezTo>
                <a:cubicBezTo>
                  <a:pt x="554809" y="6634017"/>
                  <a:pt x="542780" y="6628319"/>
                  <a:pt x="529483" y="6619455"/>
                </a:cubicBezTo>
                <a:lnTo>
                  <a:pt x="529483" y="6653645"/>
                </a:lnTo>
                <a:cubicBezTo>
                  <a:pt x="545312" y="6660609"/>
                  <a:pt x="571271" y="6668207"/>
                  <a:pt x="596596" y="6660609"/>
                </a:cubicBezTo>
                <a:cubicBezTo>
                  <a:pt x="617489" y="6654277"/>
                  <a:pt x="635217" y="6636550"/>
                  <a:pt x="635217" y="6618189"/>
                </a:cubicBezTo>
                <a:cubicBezTo>
                  <a:pt x="635851" y="6587165"/>
                  <a:pt x="609258" y="6580201"/>
                  <a:pt x="594696" y="6574503"/>
                </a:cubicBezTo>
                <a:cubicBezTo>
                  <a:pt x="585832" y="6570704"/>
                  <a:pt x="572537" y="6567538"/>
                  <a:pt x="572537" y="6557408"/>
                </a:cubicBezTo>
                <a:cubicBezTo>
                  <a:pt x="572537" y="6552976"/>
                  <a:pt x="574436" y="6548544"/>
                  <a:pt x="582667" y="6546012"/>
                </a:cubicBezTo>
                <a:close/>
                <a:moveTo>
                  <a:pt x="832120" y="6517521"/>
                </a:moveTo>
                <a:lnTo>
                  <a:pt x="832120" y="6660609"/>
                </a:lnTo>
                <a:lnTo>
                  <a:pt x="923924" y="6660609"/>
                </a:lnTo>
                <a:lnTo>
                  <a:pt x="923924" y="6630852"/>
                </a:lnTo>
                <a:lnTo>
                  <a:pt x="871374" y="6630852"/>
                </a:lnTo>
                <a:lnTo>
                  <a:pt x="871374" y="6517521"/>
                </a:lnTo>
                <a:close/>
                <a:moveTo>
                  <a:pt x="667506" y="6517521"/>
                </a:moveTo>
                <a:lnTo>
                  <a:pt x="648513" y="6660609"/>
                </a:lnTo>
                <a:lnTo>
                  <a:pt x="689033" y="6660609"/>
                </a:lnTo>
                <a:lnTo>
                  <a:pt x="695997" y="6570071"/>
                </a:lnTo>
                <a:lnTo>
                  <a:pt x="714358" y="6660609"/>
                </a:lnTo>
                <a:lnTo>
                  <a:pt x="746014" y="6660609"/>
                </a:lnTo>
                <a:lnTo>
                  <a:pt x="765009" y="6570071"/>
                </a:lnTo>
                <a:lnTo>
                  <a:pt x="771973" y="6660609"/>
                </a:lnTo>
                <a:lnTo>
                  <a:pt x="812493" y="6660609"/>
                </a:lnTo>
                <a:lnTo>
                  <a:pt x="793500" y="6517521"/>
                </a:lnTo>
                <a:lnTo>
                  <a:pt x="750446" y="6517521"/>
                </a:lnTo>
                <a:lnTo>
                  <a:pt x="730187" y="6603627"/>
                </a:lnTo>
                <a:lnTo>
                  <a:pt x="710559" y="6517521"/>
                </a:lnTo>
                <a:close/>
                <a:moveTo>
                  <a:pt x="428816" y="6517521"/>
                </a:moveTo>
                <a:lnTo>
                  <a:pt x="385763" y="6660609"/>
                </a:lnTo>
                <a:lnTo>
                  <a:pt x="428816" y="6660609"/>
                </a:lnTo>
                <a:lnTo>
                  <a:pt x="434514" y="6634651"/>
                </a:lnTo>
                <a:lnTo>
                  <a:pt x="471869" y="6634651"/>
                </a:lnTo>
                <a:lnTo>
                  <a:pt x="477567" y="6660609"/>
                </a:lnTo>
                <a:lnTo>
                  <a:pt x="520620" y="6660609"/>
                </a:lnTo>
                <a:lnTo>
                  <a:pt x="477567" y="6517521"/>
                </a:lnTo>
                <a:close/>
                <a:moveTo>
                  <a:pt x="593728" y="6513050"/>
                </a:moveTo>
                <a:cubicBezTo>
                  <a:pt x="560904" y="6511625"/>
                  <a:pt x="526477" y="6527651"/>
                  <a:pt x="532650" y="6567538"/>
                </a:cubicBezTo>
                <a:cubicBezTo>
                  <a:pt x="533283" y="6539048"/>
                  <a:pt x="588999" y="6526385"/>
                  <a:pt x="624454" y="6557409"/>
                </a:cubicBezTo>
                <a:cubicBezTo>
                  <a:pt x="625720" y="6537781"/>
                  <a:pt x="625087" y="6528917"/>
                  <a:pt x="624454" y="6520054"/>
                </a:cubicBezTo>
                <a:cubicBezTo>
                  <a:pt x="615433" y="6515938"/>
                  <a:pt x="604669" y="6513524"/>
                  <a:pt x="593728" y="6513050"/>
                </a:cubicBezTo>
                <a:close/>
                <a:moveTo>
                  <a:pt x="8248799" y="5588150"/>
                </a:moveTo>
                <a:lnTo>
                  <a:pt x="12192000" y="5588150"/>
                </a:lnTo>
                <a:lnTo>
                  <a:pt x="12192000" y="6858000"/>
                </a:lnTo>
                <a:lnTo>
                  <a:pt x="8248799" y="6858000"/>
                </a:lnTo>
                <a:close/>
                <a:moveTo>
                  <a:pt x="0" y="5588150"/>
                </a:moveTo>
                <a:lnTo>
                  <a:pt x="8242449" y="5588150"/>
                </a:lnTo>
                <a:lnTo>
                  <a:pt x="8242449" y="6858000"/>
                </a:lnTo>
                <a:lnTo>
                  <a:pt x="0" y="6858000"/>
                </a:lnTo>
                <a:close/>
                <a:moveTo>
                  <a:pt x="8248799" y="0"/>
                </a:moveTo>
                <a:lnTo>
                  <a:pt x="12192000" y="0"/>
                </a:lnTo>
                <a:lnTo>
                  <a:pt x="12192000" y="5581800"/>
                </a:lnTo>
                <a:lnTo>
                  <a:pt x="8248799" y="5581800"/>
                </a:lnTo>
                <a:close/>
                <a:moveTo>
                  <a:pt x="0" y="0"/>
                </a:moveTo>
                <a:lnTo>
                  <a:pt x="8242449" y="0"/>
                </a:lnTo>
                <a:lnTo>
                  <a:pt x="8242449" y="5581800"/>
                </a:lnTo>
                <a:lnTo>
                  <a:pt x="0" y="5581800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  <a:effectLst>
            <a:innerShdw dist="6858000" dir="16200000">
              <a:schemeClr val="bg1">
                <a:alpha val="75000"/>
              </a:schemeClr>
            </a:innerShdw>
          </a:effectLst>
        </p:spPr>
        <p:txBody>
          <a:bodyPr vert="horz" wrap="square" lIns="0" tIns="0" rIns="396000" bIns="0" rtlCol="0" anchor="ctr" anchorCtr="0">
            <a:noAutofit/>
          </a:bodyPr>
          <a:lstStyle>
            <a:lvl1pPr algn="r">
              <a:defRPr lang="en-US" sz="1200" dirty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on area to insert picture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:a16="http://schemas.microsoft.com/office/drawing/2014/main" id="{31C5EDE2-43DD-43B3-BB7A-D62CA86A44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500"/>
          </a:xfrm>
          <a:custGeom>
            <a:avLst/>
            <a:gdLst>
              <a:gd name="connsiteX0" fmla="*/ 0 w 7488000"/>
              <a:gd name="connsiteY0" fmla="*/ 0 h 1404000"/>
              <a:gd name="connsiteX1" fmla="*/ 7488000 w 7488000"/>
              <a:gd name="connsiteY1" fmla="*/ 0 h 1404000"/>
              <a:gd name="connsiteX2" fmla="*/ 7488000 w 7488000"/>
              <a:gd name="connsiteY2" fmla="*/ 1404000 h 1404000"/>
              <a:gd name="connsiteX3" fmla="*/ 0 w 7488000"/>
              <a:gd name="connsiteY3" fmla="*/ 140400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88000" h="1404000">
                <a:moveTo>
                  <a:pt x="0" y="0"/>
                </a:moveTo>
                <a:lnTo>
                  <a:pt x="7488000" y="0"/>
                </a:lnTo>
                <a:lnTo>
                  <a:pt x="7488000" y="1404000"/>
                </a:lnTo>
                <a:lnTo>
                  <a:pt x="0" y="1404000"/>
                </a:lnTo>
                <a:close/>
              </a:path>
            </a:pathLst>
          </a:custGeom>
        </p:spPr>
        <p:txBody>
          <a:bodyPr wrap="square" tIns="3600"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7436A9C2-752F-4995-A51D-AE91EE48A611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11E14894-3CE6-409D-A8A1-D4A67320ADD6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4E082-E024-4765-9547-F36CE94FD081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09EE81C9-EA78-4627-8569-DA3D7621958E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50B8736-DAE3-4494-A952-94C6F86E5DD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1F97BD-6511-40C2-9E6E-92C21C04601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141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60">
          <p15:clr>
            <a:srgbClr val="547EBF"/>
          </p15:clr>
        </p15:guide>
        <p15:guide id="2" orient="horz" pos="509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1747">
          <p15:clr>
            <a:srgbClr val="547EBF"/>
          </p15:clr>
        </p15:guide>
        <p15:guide id="5" orient="horz" pos="2632">
          <p15:clr>
            <a:srgbClr val="547EB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4" preserve="1">
  <p:cSld name="Chapter Slide 4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Hide background Logo">
            <a:extLst>
              <a:ext uri="{FF2B5EF4-FFF2-40B4-BE49-F238E27FC236}">
                <a16:creationId xmlns:a16="http://schemas.microsoft.com/office/drawing/2014/main" id="{4136C739-EC55-45E2-B880-3847C17CF8BB}"/>
              </a:ext>
            </a:extLst>
          </p:cNvPr>
          <p:cNvSpPr/>
          <p:nvPr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 flipH="1"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693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18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35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4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232696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373052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F4DDF64-5C69-4AFA-9635-10096106A64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3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0"/>
            <a:ext cx="41304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5325" y="808200"/>
            <a:ext cx="711358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773800"/>
            <a:ext cx="7113588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5169554C-ED38-41F8-830C-EF173FD80926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F0815C98-6F33-481C-B400-1F08952FA7B4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Logo">
            <a:extLst>
              <a:ext uri="{FF2B5EF4-FFF2-40B4-BE49-F238E27FC236}">
                <a16:creationId xmlns:a16="http://schemas.microsoft.com/office/drawing/2014/main" id="{364DBF74-98A0-4E0A-A943-3BF4DFA456E1}"/>
              </a:ext>
            </a:extLst>
          </p:cNvPr>
          <p:cNvSpPr>
            <a:spLocks/>
          </p:cNvSpPr>
          <p:nvPr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>
              <a:latin typeface="+mn-lt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B22322-7498-40F8-BEAB-2B540EAD49E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96F83DCF-0D68-4910-BE52-2E8A9D269641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1F0FCF-AFC4-4BF8-A68B-2DC81BF170E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C8B372-2A1E-4510-B277-0C385ECF879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50883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pos="7319">
          <p15:clr>
            <a:srgbClr val="FFFFFF"/>
          </p15:clr>
        </p15:guide>
        <p15:guide id="3" orient="horz" pos="509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" type="twoObj" preserve="1">
  <p:cSld name="Title 2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0CAC78B5-1779-4709-AF35-4B8166EA2A8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5241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E89E6773-5B9E-4C7D-B1BE-54C5F7F48326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369799"/>
            <a:ext cx="5241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AB5EB7-FEDE-4F62-8CA4-FA996173ABE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B14F6F7C-2254-46EC-8124-EADF981F94B9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9CD819-C2C1-4105-A401-FB1FCBF4F69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16AC08-326C-4149-9875-2CE49F374AC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659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" type="objAndTwoObj" preserve="1">
  <p:cSld name="Title 3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F5838B5B-8D44-4948-9685-83EA5B4F67B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336962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center">
            <a:extLst>
              <a:ext uri="{FF2B5EF4-FFF2-40B4-BE49-F238E27FC236}">
                <a16:creationId xmlns:a16="http://schemas.microsoft.com/office/drawing/2014/main" id="{32BB11D2-EA02-41A0-9EE7-358732E361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369799"/>
            <a:ext cx="3368950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right">
            <a:extLst>
              <a:ext uri="{FF2B5EF4-FFF2-40B4-BE49-F238E27FC236}">
                <a16:creationId xmlns:a16="http://schemas.microsoft.com/office/drawing/2014/main" id="{CF21524C-67FC-4C50-BAB0-4B436AB19D3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369799"/>
            <a:ext cx="3369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F283F9-9BAE-49C1-8215-98BC764F262D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E4F55A9-51A3-4A8C-9999-47C06C800A81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085F4D-A4CF-4983-9CA8-23B010115B4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82CEB6-3AF0-4ED5-B22D-724138DD085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590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pos="7083">
          <p15:clr>
            <a:srgbClr val="547EBF"/>
          </p15:clr>
        </p15:guide>
        <p15:guide id="3" orient="horz" pos="27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2366">
          <p15:clr>
            <a:srgbClr val="547EBF"/>
          </p15:clr>
        </p15:guide>
        <p15:guide id="10" pos="2602">
          <p15:clr>
            <a:srgbClr val="547EBF"/>
          </p15:clr>
        </p15:guide>
        <p15:guide id="11" pos="4724">
          <p15:clr>
            <a:srgbClr val="547EBF"/>
          </p15:clr>
        </p15:guide>
        <p15:guide id="12" pos="4960">
          <p15:clr>
            <a:srgbClr val="547EB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" type="fourObj" preserve="1">
  <p:cSld name="Titl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2" name="Content Placeholder left">
            <a:extLst>
              <a:ext uri="{FF2B5EF4-FFF2-40B4-BE49-F238E27FC236}">
                <a16:creationId xmlns:a16="http://schemas.microsoft.com/office/drawing/2014/main" id="{68997374-0D38-4532-8506-0877E5D1F9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2433000" cy="4680163"/>
          </a:xfrm>
        </p:spPr>
        <p:txBody>
          <a:bodyPr/>
          <a:lstStyle>
            <a:lvl1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2pPr>
            <a:lvl3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000" baseline="0"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5pPr>
            <a:lvl6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6pPr>
            <a:lvl7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7pPr>
            <a:lvl8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8pPr>
            <a:lvl9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center left">
            <a:extLst>
              <a:ext uri="{FF2B5EF4-FFF2-40B4-BE49-F238E27FC236}">
                <a16:creationId xmlns:a16="http://schemas.microsoft.com/office/drawing/2014/main" id="{40E6EFB6-C485-43AC-8071-33FD8D38BC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369799"/>
            <a:ext cx="2433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14" name="Content Placeholder center right">
            <a:extLst>
              <a:ext uri="{FF2B5EF4-FFF2-40B4-BE49-F238E27FC236}">
                <a16:creationId xmlns:a16="http://schemas.microsoft.com/office/drawing/2014/main" id="{F07FD752-F5AE-44F3-9E78-BAE50FECB03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369799"/>
            <a:ext cx="243357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15" name="Content Placeholder right">
            <a:extLst>
              <a:ext uri="{FF2B5EF4-FFF2-40B4-BE49-F238E27FC236}">
                <a16:creationId xmlns:a16="http://schemas.microsoft.com/office/drawing/2014/main" id="{11103353-C967-4B83-BF3B-88CA81C9603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369799"/>
            <a:ext cx="2433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6C5AA7-4333-4ADE-B698-06D17EAFF7DF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2A35EF86-64CA-4E53-8C1B-457CCDC2A643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BC7595-36F8-47CD-9313-F7DD7933BC5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92EC2A-38E8-46A0-A721-6659543C2ECF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211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  <p15:guide id="9" pos="5550">
          <p15:clr>
            <a:srgbClr val="547EBF"/>
          </p15:clr>
        </p15:guide>
        <p15:guide id="10" pos="5314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Header" type="txOverObj" preserve="1">
  <p:cSld name="Title Content &#10;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lang="en-US" baseline="0" dirty="0">
                <a:solidFill>
                  <a:schemeClr val="accent1"/>
                </a:solidFill>
              </a:defRPr>
            </a:lvl2pPr>
            <a:lvl3pPr>
              <a:defRPr lang="en-US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baseline="0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baseline="0" dirty="0">
                <a:solidFill>
                  <a:schemeClr val="accent1"/>
                </a:solidFill>
              </a:defRPr>
            </a:lvl7pPr>
            <a:lvl8pPr>
              <a:defRPr lang="en-US" baseline="0" dirty="0">
                <a:solidFill>
                  <a:schemeClr val="accent1"/>
                </a:solidFill>
              </a:defRPr>
            </a:lvl8pPr>
            <a:lvl9pPr>
              <a:defRPr lang="en-US" baseline="0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" hidden="1">
            <a:extLst>
              <a:ext uri="{FF2B5EF4-FFF2-40B4-BE49-F238E27FC236}">
                <a16:creationId xmlns:a16="http://schemas.microsoft.com/office/drawing/2014/main" id="{F39CDF36-8584-474A-A340-2CF19A90EF6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838326"/>
            <a:ext cx="10857863" cy="4211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6F9F72-D473-4FF0-B534-697B037CAB9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138C2A71-8D30-4050-A291-05D5EF53BFDD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F3986B-5EC8-441C-8101-40A5B761494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8A1E49-F2C9-4BC4-B87C-E6B6AD4C516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683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Headers" type="twoTxTwoObj" preserve="1">
  <p:cSld name="Title 2 Contents &#10;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5242237" cy="280988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left">
            <a:extLst>
              <a:ext uri="{FF2B5EF4-FFF2-40B4-BE49-F238E27FC236}">
                <a16:creationId xmlns:a16="http://schemas.microsoft.com/office/drawing/2014/main" id="{66ADD6CF-E96E-40D4-888D-AEC6A7B689C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5241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right">
            <a:extLst>
              <a:ext uri="{FF2B5EF4-FFF2-40B4-BE49-F238E27FC236}">
                <a16:creationId xmlns:a16="http://schemas.microsoft.com/office/drawing/2014/main" id="{E1B13DFC-B01F-469C-B65F-D2F36871231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838325"/>
            <a:ext cx="5241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753840-5CF9-42CC-B75A-73C48DC2F7C1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47E5E9F9-BCEE-4B1A-9B3E-7E6A1A94E79A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8F75E6-E90D-4A29-855E-060F8C52029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CCE0EC-DF6D-4A71-AB27-210BB010718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518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040">
          <p15:clr>
            <a:srgbClr val="547EBF"/>
          </p15:clr>
        </p15:guide>
        <p15:guide id="7" orient="horz" pos="1158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545">
          <p15:clr>
            <a:srgbClr val="547EBF"/>
          </p15:clr>
        </p15:guide>
        <p15:guide id="11" pos="3781">
          <p15:clr>
            <a:srgbClr val="547EBF"/>
          </p15:clr>
        </p15:guide>
        <p15:guide id="12" pos="7083">
          <p15:clr>
            <a:srgbClr val="547EB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Headers" preserve="1">
  <p:cSld name="Title 3 Contents &#10;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280988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left">
            <a:extLst>
              <a:ext uri="{FF2B5EF4-FFF2-40B4-BE49-F238E27FC236}">
                <a16:creationId xmlns:a16="http://schemas.microsoft.com/office/drawing/2014/main" id="{80B9EEE4-A50E-45E6-90B7-A6DF93D7D7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838325"/>
            <a:ext cx="336962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center">
            <a:extLst>
              <a:ext uri="{FF2B5EF4-FFF2-40B4-BE49-F238E27FC236}">
                <a16:creationId xmlns:a16="http://schemas.microsoft.com/office/drawing/2014/main" id="{6198751F-5038-4C04-BB4F-3E8723C1B29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838325"/>
            <a:ext cx="336895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right">
            <a:extLst>
              <a:ext uri="{FF2B5EF4-FFF2-40B4-BE49-F238E27FC236}">
                <a16:creationId xmlns:a16="http://schemas.microsoft.com/office/drawing/2014/main" id="{491A289C-2085-4668-9581-ADDF1084BBEE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838325"/>
            <a:ext cx="3369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572EF5-53AC-4B89-8142-90BB2ABE731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2782A337-390E-4B52-AA35-0214642215F7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FEE9EC-14C8-490D-AD5C-42C125A1E4E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57346F-2946-4C35-8684-4782DA54540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0590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2366">
          <p15:clr>
            <a:srgbClr val="547EBF"/>
          </p15:clr>
        </p15:guide>
        <p15:guide id="12" pos="2602">
          <p15:clr>
            <a:srgbClr val="547EBF"/>
          </p15:clr>
        </p15:guide>
        <p15:guide id="13" pos="4724">
          <p15:clr>
            <a:srgbClr val="547EBF"/>
          </p15:clr>
        </p15:guide>
        <p15:guide id="14" pos="4960">
          <p15:clr>
            <a:srgbClr val="547EB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Headers" preserve="1">
  <p:cSld name="Title 4 Contents &#10;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2434237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1"/>
            <a:ext cx="2432168" cy="2812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F3658C72-050E-49A9-8A13-07B94D5B9E7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243300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1A0351BE-E79F-40A3-8577-E328D3958891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838325"/>
            <a:ext cx="2433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B5182934-6831-4FDC-A7C4-AD9D3815080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838325"/>
            <a:ext cx="243357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C472BB61-B63B-4095-8DC2-455C10AA39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838325"/>
            <a:ext cx="2433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D54E39-7624-462F-9F80-7DB617C0C73A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1CC2F411-EF99-4EAD-A233-8ED5532E061F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42CD21-E3A6-48AE-89E1-78DE4A6A013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8E3CC0-4E20-44A9-BE78-32651EB3DB80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565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  <p15:guide id="15" pos="5314">
          <p15:clr>
            <a:srgbClr val="547EBF"/>
          </p15:clr>
        </p15:guide>
        <p15:guide id="16" pos="5550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Intro" type="txAndObj" preserve="1">
  <p:cSld name="Title Content &#10;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3" name="Text Placeholder">
            <a:extLst>
              <a:ext uri="{FF2B5EF4-FFF2-40B4-BE49-F238E27FC236}">
                <a16:creationId xmlns:a16="http://schemas.microsoft.com/office/drawing/2014/main" id="{72A2FDCE-6151-4692-9789-AB95CA61E4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7493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BC68B6CC-90B0-4EEA-B714-6E3AFC295DB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800"/>
            <a:ext cx="10857863" cy="3744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72956B-2CDE-4E6E-830A-3B27344C8F4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B93D497B-5677-4D69-8BDE-3D3BFEFE6331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756FD2-4F39-4021-9903-850FB63FD85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7ECBC2-1186-4738-BA8D-47F51F71F4A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956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335">
          <p15:clr>
            <a:srgbClr val="547EBF"/>
          </p15:clr>
        </p15:guide>
        <p15:guide id="8" orient="horz" pos="1452">
          <p15:clr>
            <a:srgbClr val="547EBF"/>
          </p15:clr>
        </p15:guide>
        <p15:guide id="9" orient="horz" pos="3811">
          <p15:clr>
            <a:srgbClr val="547EBF"/>
          </p15:clr>
        </p15:guide>
        <p15:guide id="11" orient="horz" pos="3958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BDD9DC-A86A-4A14-99EE-544213F2B8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E2B71E-D326-4FD0-90B0-328A010CBB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0BAE03-23B6-4A9B-B8D3-8BE9E2F791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E8BEA5-407E-408E-BEF8-6EF484D01A2F}" type="datetime1">
              <a:rPr lang="nl-NL" smtClean="0"/>
              <a:t>29-4-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97F818-2EAB-4275-B042-C85A1A8A1B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7D0F4F-4D77-4D13-A067-79B0B48C7D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85CC8-B913-452D-ADAA-DC4EF85366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1289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Intro" type="twoColTx" preserve="1">
  <p:cSld name="Title 2 Contents &#10;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5242237" cy="7488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aseline="0" dirty="0">
                <a:solidFill>
                  <a:schemeClr val="accent1"/>
                </a:solidFill>
              </a:defRPr>
            </a:lvl1pPr>
            <a:lvl2pPr>
              <a:defRPr lang="en-US" sz="1600" baseline="0" dirty="0">
                <a:solidFill>
                  <a:schemeClr val="accent1"/>
                </a:solidFill>
              </a:defRPr>
            </a:lvl2pPr>
            <a:lvl3pPr>
              <a:defRPr lang="en-US" sz="1600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748800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5800"/>
            <a:ext cx="5241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3ACEDA-14D2-4D60-ACDB-D5109573C7D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B65D303C-D209-4689-964F-8D7130FC4EEA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B44124A-5903-474D-B425-7EC03B538F4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9A5D1A-8FC2-4425-8085-692FBEA236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523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781">
          <p15:clr>
            <a:srgbClr val="547EBF"/>
          </p15:clr>
        </p15:guide>
        <p15:guide id="11" pos="7083">
          <p15:clr>
            <a:srgbClr val="547EBF"/>
          </p15:clr>
        </p15:guide>
        <p15:guide id="12" pos="243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Intro" preserve="1">
  <p:cSld name="Title 3 Contents &#10;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748590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6013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2305800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2305800"/>
            <a:ext cx="3369863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3403440-F3EA-48E6-B8F0-E8964D08C2A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514424DD-69F3-4A42-BA52-0A989B47CD47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6573ED-A8D1-44BE-89E8-BDC17846C04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1022E9E-7F31-4169-926F-181B429842B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501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0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2366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Intro" preserve="1">
  <p:cSld name="Title 4 Contents &#10;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7" name="Text Placeholder left">
            <a:extLst>
              <a:ext uri="{FF2B5EF4-FFF2-40B4-BE49-F238E27FC236}">
                <a16:creationId xmlns:a16="http://schemas.microsoft.com/office/drawing/2014/main" id="{5FA9E211-8E39-47DD-A16C-2F9499BC7F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2434237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8" name="Text Placeholder center left">
            <a:extLst>
              <a:ext uri="{FF2B5EF4-FFF2-40B4-BE49-F238E27FC236}">
                <a16:creationId xmlns:a16="http://schemas.microsoft.com/office/drawing/2014/main" id="{2A19C958-E7D0-44A4-B38C-60844D9F66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0"/>
            <a:ext cx="2432168" cy="7018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center right">
            <a:extLst>
              <a:ext uri="{FF2B5EF4-FFF2-40B4-BE49-F238E27FC236}">
                <a16:creationId xmlns:a16="http://schemas.microsoft.com/office/drawing/2014/main" id="{8E8876E3-76FC-4ACB-8045-9ACBD3AB98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0" name="Text Placeholder right">
            <a:extLst>
              <a:ext uri="{FF2B5EF4-FFF2-40B4-BE49-F238E27FC236}">
                <a16:creationId xmlns:a16="http://schemas.microsoft.com/office/drawing/2014/main" id="{725A00B6-43EB-4ECA-AF70-EB3B121F05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0BB2027E-987B-485D-89AA-87365F0151D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050"/>
            <a:ext cx="2433000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9E46103B-D425-4BC6-A1E6-5704302AEA0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2305050"/>
            <a:ext cx="2433288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4C5B107C-E832-4C51-99BD-DBFE27272F46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02399" y="2305050"/>
            <a:ext cx="2433575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ixth level</a:t>
            </a:r>
          </a:p>
          <a:p>
            <a:pPr lvl="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546E20EC-644E-49F2-9E1F-9546C70449BE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2305050"/>
            <a:ext cx="2433863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EDFF9E-C967-40DC-8E03-0995A117EA7C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17C0A42A-4BF8-4995-B99B-4B8E06E22507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F72F79-D9B5-4D0A-B162-39508696979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517A76-FB91-4F47-B520-B627D55DBE2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673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0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1776">
          <p15:clr>
            <a:srgbClr val="547EBF"/>
          </p15:clr>
        </p15:guide>
        <p15:guide id="11" pos="2012">
          <p15:clr>
            <a:srgbClr val="547EBF"/>
          </p15:clr>
        </p15:guide>
        <p15:guide id="12" pos="3545">
          <p15:clr>
            <a:srgbClr val="547EBF"/>
          </p15:clr>
        </p15:guide>
        <p15:guide id="13" pos="3781">
          <p15:clr>
            <a:srgbClr val="547EBF"/>
          </p15:clr>
        </p15:guide>
        <p15:guide id="14" pos="5314">
          <p15:clr>
            <a:srgbClr val="547EBF"/>
          </p15:clr>
        </p15:guide>
        <p15:guide id="15" pos="5550">
          <p15:clr>
            <a:srgbClr val="547EBF"/>
          </p15:clr>
        </p15:guide>
        <p15:guide id="16" pos="7083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Text" type="objOverTx" preserve="1">
  <p:cSld name="Title Content &#10;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399" y="1369800"/>
            <a:ext cx="10857863" cy="308948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800"/>
            <a:ext cx="10858500" cy="140477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4FC1AD-118A-479F-B6D9-E94E29C8D3F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5C13CEB-77D9-41A1-BC59-01494E0C75E4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64B1D0-72DB-448B-852E-084AA83DB1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2BB846-FD72-404F-B0F8-B4CBB9109F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649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2809">
          <p15:clr>
            <a:srgbClr val="547EBF"/>
          </p15:clr>
        </p15:guide>
        <p15:guide id="8" orient="horz" pos="2926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Text" type="twoObjOverTx" preserve="1">
  <p:cSld name="Title 2 Contents &#10;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5241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70013"/>
            <a:ext cx="5241862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6010"/>
            <a:ext cx="5242237" cy="140400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4645800"/>
            <a:ext cx="5237781" cy="1404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FFBE53-5DCA-4779-8AAF-DDEF8984ED0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D7DB0F18-77BF-47C5-8EF8-415753D9109E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091EF74-A273-4D9F-BFB8-4F3A848D8DA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0DA29FB-8CE8-4CA8-BAAF-0562B530F84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771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3545">
          <p15:clr>
            <a:srgbClr val="547EBF"/>
          </p15:clr>
        </p15:guide>
        <p15:guide id="12" pos="3781">
          <p15:clr>
            <a:srgbClr val="547EB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Text" preserve="1">
  <p:cSld name="Title 3 Contents &#10;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1369800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1369800"/>
            <a:ext cx="3369863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3370237" cy="140400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E5C7900-745E-4006-AAFE-0C3258E3DCE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D142ED91-B56E-4B65-AAF6-AAAF4AF58F1C}" type="datetime1">
              <a:rPr lang="nl-NL" smtClean="0"/>
              <a:t>29-4-2024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2F9DF32-2956-4A1E-80B3-89A1D1BB0C3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0A82D22-5BA5-44CE-BE69-87DDF0144BE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881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366">
          <p15:clr>
            <a:srgbClr val="547EBF"/>
          </p15:clr>
        </p15:guide>
        <p15:guide id="11" pos="2602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Text" preserve="1">
  <p:cSld name="Title 4 Contents &#10;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22" name="Content Placeholder cent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194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23" name="Content Placeholder cent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002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24" name="Content Placeholder right">
            <a:extLst>
              <a:ext uri="{FF2B5EF4-FFF2-40B4-BE49-F238E27FC236}">
                <a16:creationId xmlns:a16="http://schemas.microsoft.com/office/drawing/2014/main" id="{9DCB9383-FF8B-4F58-9768-9723C97F0D9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10399" y="1369801"/>
            <a:ext cx="2433863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2434237" cy="14036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4645055"/>
            <a:ext cx="2432168" cy="140474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4645800"/>
            <a:ext cx="2432168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4645800"/>
            <a:ext cx="2433792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96A14B-7708-46D9-8826-69E1E642DEC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41764FA-5251-420A-B117-1E3A0DF90ED6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4E8C58-8CC0-4477-8D91-E7F3D11137D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118CE30-E3AA-4912-B632-62F474FEF02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314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1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243">
          <p15:clr>
            <a:srgbClr val="547EBF"/>
          </p15:clr>
        </p15:guide>
        <p15:guide id="4" pos="7083">
          <p15:clr>
            <a:srgbClr val="547EBF"/>
          </p15:clr>
        </p15:guide>
        <p15:guide id="5" pos="1776">
          <p15:clr>
            <a:srgbClr val="547EBF"/>
          </p15:clr>
        </p15:guide>
        <p15:guide id="6" pos="3545">
          <p15:clr>
            <a:srgbClr val="547EBF"/>
          </p15:clr>
        </p15:guide>
        <p15:guide id="7" pos="3781">
          <p15:clr>
            <a:srgbClr val="547EBF"/>
          </p15:clr>
        </p15:guide>
        <p15:guide id="8" pos="5314">
          <p15:clr>
            <a:srgbClr val="547EBF"/>
          </p15:clr>
        </p15:guide>
        <p15:guide id="9" pos="5550">
          <p15:clr>
            <a:srgbClr val="547EBF"/>
          </p15:clr>
        </p15:guide>
        <p15:guide id="10" orient="horz" pos="509">
          <p15:clr>
            <a:srgbClr val="547EBF"/>
          </p15:clr>
        </p15:guide>
        <p15:guide id="11" orient="horz" pos="745">
          <p15:clr>
            <a:srgbClr val="547EBF"/>
          </p15:clr>
        </p15:guide>
        <p15:guide id="12" orient="horz" pos="863">
          <p15:clr>
            <a:srgbClr val="547EBF"/>
          </p15:clr>
        </p15:guide>
        <p15:guide id="13" orient="horz" pos="2809">
          <p15:clr>
            <a:srgbClr val="547EBF"/>
          </p15:clr>
        </p15:guide>
        <p15:guide id="14" orient="horz" pos="2926">
          <p15:clr>
            <a:srgbClr val="547EBF"/>
          </p15:clr>
        </p15:guide>
        <p15:guide id="15" orient="horz" pos="3811">
          <p15:clr>
            <a:srgbClr val="547EBF"/>
          </p15:clr>
        </p15:guide>
        <p15:guide id="16" orient="horz" pos="3958">
          <p15:clr>
            <a:srgbClr val="547EB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Header right" type="twoObjAndTx" preserve="1">
  <p:cSld name="2 Contents &#10;with Heade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8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838324"/>
            <a:ext cx="5241862" cy="4211425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3"/>
            <a:ext cx="5242237" cy="280988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98ADD4-8AFF-4ACF-93DF-CFB1C5ACF22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30B99492-027B-456E-B0CA-DB6320AF59F8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B576C-63CA-4CCA-9DD6-D688BE66DF8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DAFDF3-2398-4828-B505-4DD86880574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19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Intro right" type="txAndTwoObj" preserve="1">
  <p:cSld name="2 Contents &#10;with Intr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2"/>
            <a:ext cx="5242237" cy="748803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3FEF96-3E0F-4E0F-AFE2-A69102B82C90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93959671-A697-4D9D-A650-8B8117DA0904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48DFA4-1119-44B7-BD42-A233F866843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DB2CF4-935D-40C6-B1CF-F181FED349E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766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1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3545">
          <p15:clr>
            <a:srgbClr val="547EBF"/>
          </p15:clr>
        </p15:guide>
        <p15:guide id="9" pos="243">
          <p15:clr>
            <a:srgbClr val="547EBF"/>
          </p15:clr>
        </p15:guide>
        <p15:guide id="10" pos="7083">
          <p15:clr>
            <a:srgbClr val="547EB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right" type="mediaAndTx" preserve="1">
  <p:cSld name="2 Contents &#10;with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 marL="519750" indent="-285750">
              <a:buNone/>
              <a:defRPr lang="en-US" sz="160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02E3762-0CF3-461E-BD9F-A326B5F02B1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F713F29-A3C3-4F28-961B-E36F0282261B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8D85ED-676A-4FEA-9EA2-2C71D76D709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BEE438-0DDB-4A6A-921F-7BE670E39DC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27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">
          <p15:clr>
            <a:srgbClr val="547EBF"/>
          </p15:clr>
        </p15:guide>
        <p15:guide id="2" pos="243">
          <p15:clr>
            <a:srgbClr val="547EBF"/>
          </p15:clr>
        </p15:guide>
        <p15:guide id="3" pos="3545">
          <p15:clr>
            <a:srgbClr val="547EBF"/>
          </p15:clr>
        </p15:guide>
        <p15:guide id="4" pos="3781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509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863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72D51-C394-4976-9EFA-90BF83066F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194B7C-7974-43A9-B8E6-78CEFC75BB9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189A39-BBB2-4606-8DBB-1CCBFB891B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8A2C4D-6F1A-4257-88D7-111FD144E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3D3EF5-6813-42C7-A4A6-F31CD9B54B9C}" type="datetime1">
              <a:rPr lang="nl-NL" smtClean="0"/>
              <a:t>29-4-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3958CA-043E-48C5-A8CA-74DD98BE5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07C69D-8FE1-42A3-BE98-6C4B48E94E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85CC8-B913-452D-ADAA-DC4EF85366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9399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left" type="txAndMedia" preserve="1">
  <p:cSld name="2 Contents &#10;with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1" name="Content Placeholder righ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002400" y="1369800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7037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  <a:lvl2pPr>
              <a:defRPr lang="en-US" dirty="0">
                <a:solidFill>
                  <a:schemeClr val="accent1"/>
                </a:solidFill>
              </a:defRPr>
            </a:lvl2pPr>
            <a:lvl3pPr>
              <a:defRPr lang="en-US" dirty="0">
                <a:solidFill>
                  <a:schemeClr val="accent1"/>
                </a:solidFill>
              </a:defRPr>
            </a:lvl3pPr>
            <a:lvl4pPr>
              <a:defRPr lang="en-US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FD0E28-6962-45CE-B41C-F26C7DD3067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CEA0555-F91E-4F47-8D3B-D5B51C05A21A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E6ED946-A89F-4642-A6D1-5B220E00CC0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5E1D2E-928D-46A5-A4D0-3B092CC58C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325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3811">
          <p15:clr>
            <a:srgbClr val="547EBF"/>
          </p15:clr>
        </p15:guide>
        <p15:guide id="3" pos="3781">
          <p15:clr>
            <a:srgbClr val="547EBF"/>
          </p15:clr>
        </p15:guide>
        <p15:guide id="4" pos="243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273">
          <p15:clr>
            <a:srgbClr val="547EBF"/>
          </p15:clr>
        </p15:guide>
        <p15:guide id="7" orient="horz" pos="509">
          <p15:clr>
            <a:srgbClr val="547EBF"/>
          </p15:clr>
        </p15:guide>
        <p15:guide id="8" orient="horz" pos="745">
          <p15:clr>
            <a:srgbClr val="547EBF"/>
          </p15:clr>
        </p15:guide>
        <p15:guide id="9" orient="horz" pos="863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orient="horz" pos="2809">
          <p15:clr>
            <a:srgbClr val="547EBF"/>
          </p15:clr>
        </p15:guide>
        <p15:guide id="12" orient="horz" pos="2926">
          <p15:clr>
            <a:srgbClr val="547EB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Infra ART – Datacenter Connectivity PI24.2						Sprint 1 Review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31B13F-62D2-42B8-A68D-203BB59F1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46442A5A-AFB8-4D2C-9892-137ED2F1B6CB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909442-E2B8-4A8B-AA29-571D780EA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551B03-B8BB-45BD-8DD9-CBBFCA639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890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7083">
          <p15:clr>
            <a:srgbClr val="547EB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46804C-5EB1-4AB4-807F-4F6195643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358678D4-9BB6-492D-8C75-6F2E230FFFD8}" type="datetime1">
              <a:rPr lang="nl-NL" smtClean="0"/>
              <a:t>29-4-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68B026-5796-452E-9BB7-1A7F9A822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7DA69B-C02D-4615-B1EC-D5BA88E01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750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&#10;client logo" preserve="1">
  <p:cSld name="End slide &#10;client logo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6" name="Hide background Logo">
            <a:extLst>
              <a:ext uri="{FF2B5EF4-FFF2-40B4-BE49-F238E27FC236}">
                <a16:creationId xmlns:a16="http://schemas.microsoft.com/office/drawing/2014/main" id="{0BBDE0D9-3500-40C6-BF15-2E5F5937AA29}"/>
              </a:ext>
            </a:extLst>
          </p:cNvPr>
          <p:cNvSpPr/>
          <p:nvPr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455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1391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anks</a:t>
            </a:r>
          </a:p>
          <a:p>
            <a:pPr lvl="1"/>
            <a:endParaRPr lang="en-US"/>
          </a:p>
        </p:txBody>
      </p:sp>
      <p:grpSp>
        <p:nvGrpSpPr>
          <p:cNvPr id="72" name="Graphic 4907" hidden="1">
            <a:extLst>
              <a:ext uri="{FF2B5EF4-FFF2-40B4-BE49-F238E27FC236}">
                <a16:creationId xmlns:a16="http://schemas.microsoft.com/office/drawing/2014/main" id="{0D7CC600-8815-435E-BCE9-8962E8FE163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73" name="Vrije vorm: vorm 4910" hidden="1">
              <a:extLst>
                <a:ext uri="{FF2B5EF4-FFF2-40B4-BE49-F238E27FC236}">
                  <a16:creationId xmlns:a16="http://schemas.microsoft.com/office/drawing/2014/main" id="{4667D4C7-677C-4A3A-B4D1-47086372E6E5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74" name="Vrije vorm: vorm 4911" hidden="1">
              <a:extLst>
                <a:ext uri="{FF2B5EF4-FFF2-40B4-BE49-F238E27FC236}">
                  <a16:creationId xmlns:a16="http://schemas.microsoft.com/office/drawing/2014/main" id="{C2ECB4BC-FB15-4050-BA3E-C622768A7418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75" name="Graphic 4907" hidden="1">
            <a:extLst>
              <a:ext uri="{FF2B5EF4-FFF2-40B4-BE49-F238E27FC236}">
                <a16:creationId xmlns:a16="http://schemas.microsoft.com/office/drawing/2014/main" id="{0272150B-3831-463C-86BB-43F6D1C0DDB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76" name="Vrije vorm: vorm 4913" hidden="1">
              <a:extLst>
                <a:ext uri="{FF2B5EF4-FFF2-40B4-BE49-F238E27FC236}">
                  <a16:creationId xmlns:a16="http://schemas.microsoft.com/office/drawing/2014/main" id="{525D3F68-269D-483A-AEB4-A69651138227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77" name="Vrije vorm: vorm 4914" hidden="1">
              <a:extLst>
                <a:ext uri="{FF2B5EF4-FFF2-40B4-BE49-F238E27FC236}">
                  <a16:creationId xmlns:a16="http://schemas.microsoft.com/office/drawing/2014/main" id="{092ED77B-CF3B-48EB-A6B1-DDB90A2417D2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55EAD4-1AE9-430D-9195-B1BDBCDB9274}"/>
              </a:ext>
            </a:extLst>
          </p:cNvPr>
          <p:cNvCxnSpPr>
            <a:cxnSpLocks/>
          </p:cNvCxnSpPr>
          <p:nvPr/>
        </p:nvCxnSpPr>
        <p:spPr>
          <a:xfrm>
            <a:off x="9682933" y="246600"/>
            <a:ext cx="0" cy="8424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MIO_AGENDA_IGNORE_NAVIGATION" hidden="1">
            <a:extLst>
              <a:ext uri="{FF2B5EF4-FFF2-40B4-BE49-F238E27FC236}">
                <a16:creationId xmlns:a16="http://schemas.microsoft.com/office/drawing/2014/main" id="{FCE8ADEB-72DC-48DB-8B77-3DC4FB918EE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4" name="MIO_AGENDA_IGNORE_CHAPTER_REFERENCE" hidden="1">
            <a:extLst>
              <a:ext uri="{FF2B5EF4-FFF2-40B4-BE49-F238E27FC236}">
                <a16:creationId xmlns:a16="http://schemas.microsoft.com/office/drawing/2014/main" id="{976887AB-5E0A-471B-AFAF-4ACF6D30328F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7" name="MIO_LOGOPLACEHOLDER#Closing" hidden="1">
            <a:extLst>
              <a:ext uri="{FF2B5EF4-FFF2-40B4-BE49-F238E27FC236}">
                <a16:creationId xmlns:a16="http://schemas.microsoft.com/office/drawing/2014/main" id="{2EA46382-E9B6-46AD-9356-4CE8C8139EB1}"/>
              </a:ext>
            </a:extLst>
          </p:cNvPr>
          <p:cNvSpPr/>
          <p:nvPr/>
        </p:nvSpPr>
        <p:spPr>
          <a:xfrm>
            <a:off x="11197200" y="115094"/>
            <a:ext cx="203200" cy="203200"/>
          </a:xfrm>
          <a:prstGeom prst="noSmoking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8" name="MIO_AGENDA_LAST_SLIDE" hidden="1">
            <a:extLst>
              <a:ext uri="{FF2B5EF4-FFF2-40B4-BE49-F238E27FC236}">
                <a16:creationId xmlns:a16="http://schemas.microsoft.com/office/drawing/2014/main" id="{A5ACD32F-853B-4D82-9242-36FD6601B6D6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6" name="Logo">
            <a:extLst>
              <a:ext uri="{FF2B5EF4-FFF2-40B4-BE49-F238E27FC236}">
                <a16:creationId xmlns:a16="http://schemas.microsoft.com/office/drawing/2014/main" id="{0281FEA4-9F0E-4A52-BA2D-8F5C196B252E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irstname Lastname">
            <a:extLst>
              <a:ext uri="{FF2B5EF4-FFF2-40B4-BE49-F238E27FC236}">
                <a16:creationId xmlns:a16="http://schemas.microsoft.com/office/drawing/2014/main" id="{3E9243FA-4C12-4776-9DDA-9DED5F4EE9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39" name="Position and Title">
            <a:extLst>
              <a:ext uri="{FF2B5EF4-FFF2-40B4-BE49-F238E27FC236}">
                <a16:creationId xmlns:a16="http://schemas.microsoft.com/office/drawing/2014/main" id="{CDD47F99-A71C-4684-9C8A-757F62F411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osition and Title</a:t>
            </a:r>
          </a:p>
        </p:txBody>
      </p:sp>
      <p:sp>
        <p:nvSpPr>
          <p:cNvPr id="40" name="Telephone">
            <a:extLst>
              <a:ext uri="{FF2B5EF4-FFF2-40B4-BE49-F238E27FC236}">
                <a16:creationId xmlns:a16="http://schemas.microsoft.com/office/drawing/2014/main" id="{A0ED14EA-5B52-4818-A618-8EA9C11CFA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43" name="Email">
            <a:extLst>
              <a:ext uri="{FF2B5EF4-FFF2-40B4-BE49-F238E27FC236}">
                <a16:creationId xmlns:a16="http://schemas.microsoft.com/office/drawing/2014/main" id="{2F4C36B4-9688-4315-86CA-0EA0915517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45" name="Location">
            <a:extLst>
              <a:ext uri="{FF2B5EF4-FFF2-40B4-BE49-F238E27FC236}">
                <a16:creationId xmlns:a16="http://schemas.microsoft.com/office/drawing/2014/main" id="{C0E5E582-CB4C-4554-9A53-74C1E43BF96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Location</a:t>
            </a:r>
          </a:p>
          <a:p>
            <a:pPr lvl="1"/>
            <a:endParaRPr lang="en-US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24EC8ADC-525E-4679-AFC2-3E71B47EAFA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B834762-9AA9-43C5-A8D6-D2775D75B1E8}" type="datetime1">
              <a:rPr lang="nl-NL" smtClean="0"/>
              <a:t>29-4-2024</a:t>
            </a:fld>
            <a:endParaRPr lang="en-US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3ABB07B7-3662-4056-81D4-B5989AC29F7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endParaRPr lang="en-US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0BAF792A-C35A-4C28-BA63-0765F6AD1D0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155121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31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8B0EBA-AD3B-4DD1-AAB1-F5A7BCAFB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237B8F-07BF-4E2C-8503-40685621D3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7F8275-E63F-4524-9BFC-00B6C508EB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F45CCDF-7161-4B38-89D8-16CACE5366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3A1764A-F062-43FA-A08C-738D8DEDA7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15F9AA1-D85A-4572-8AFD-18F7A1481C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FEEF84-13B6-413F-8CEA-DBBB81F79A25}" type="datetime1">
              <a:rPr lang="nl-NL" smtClean="0"/>
              <a:t>29-4-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9B95BE-AACF-4952-94AF-8E2B63C34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7C8F1-5500-4689-8002-91A83C897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85CC8-B913-452D-ADAA-DC4EF85366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3455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847C50-088F-49FB-BBC4-E22B5A1D6D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9DDAE5-8179-40B8-A6D6-8CB7CEC9A2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7BF6D-2F44-404F-8B71-76C8F0BED904}" type="datetime1">
              <a:rPr lang="nl-NL" smtClean="0"/>
              <a:t>29-4-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07593E-4042-4974-9356-ED9EFD0D8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DC8169-E10B-4CC3-9147-31036D20D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85CC8-B913-452D-ADAA-DC4EF85366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7369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569D3FA-D534-4205-BABF-EECD0E3032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1D0D2-F88E-4B9F-9AE9-95FBCBE09C7A}" type="datetime1">
              <a:rPr lang="nl-NL" smtClean="0"/>
              <a:t>29-4-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FF0371-A53F-4749-AB9F-3943B9D9D1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4D540D-1017-484C-96EF-6F76A5DC0F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85CC8-B913-452D-ADAA-DC4EF85366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8155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10F45A-5769-4A96-8A58-5ECB8FB9C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111C12-441C-4F95-8086-BA3FA09716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87FBF2-AA60-4475-BE1D-6A2757BB82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D755F2-350E-40AC-AC79-C66750F92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F9D10-0210-4448-95AD-B14A85601361}" type="datetime1">
              <a:rPr lang="nl-NL" smtClean="0"/>
              <a:t>29-4-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2578C4-F484-42AD-AB60-DF5C9B343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031EFC-4265-481E-B833-1788A8644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85CC8-B913-452D-ADAA-DC4EF85366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0387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290601-893C-4284-A598-C25731006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112E1D-F8DA-49AC-BF4D-6D02B624285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2EF0A5-9DF5-4CCD-8973-1DBCBDC234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CDDBEE-CC8E-417E-A477-0981959E3F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175D6-DB95-43A5-9087-37E3E2A8364A}" type="datetime1">
              <a:rPr lang="nl-NL" smtClean="0"/>
              <a:t>29-4-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9E1520-3176-485F-834F-3C239567E7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77EA40-27B9-4A40-B215-C6C70E882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85CC8-B913-452D-ADAA-DC4EF85366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2699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34" Type="http://schemas.openxmlformats.org/officeDocument/2006/relationships/tags" Target="../tags/tag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tags" Target="../tags/tag6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29" Type="http://schemas.openxmlformats.org/officeDocument/2006/relationships/slideLayout" Target="../slideLayouts/slideLayout4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tags" Target="../tags/tag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theme" Target="../theme/theme2.xml"/><Relationship Id="rId35" Type="http://schemas.openxmlformats.org/officeDocument/2006/relationships/tags" Target="../tags/tag8.xml"/><Relationship Id="rId8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7826CB1-FF96-424A-9DD7-84DEE0109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48B382-35C9-40CD-A490-95D0420FD6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277E8E-F7F7-4E51-A60C-6B27D43F37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C9CD73-A28B-4C30-8887-BE8DE7226E6F}" type="datetime1">
              <a:rPr lang="nl-NL" smtClean="0"/>
              <a:t>29-4-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3F33D5-77DA-43B9-B6C8-6AB26B90CD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442427-26ED-44E8-899B-EB893C2069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A85CC8-B913-452D-ADAA-DC4EF853662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-1584269589,&quot;Placement&quot;:&quot;Footer&quot;,&quot;Top&quot;:524.1047,&quot;Left&quot;:905.3905,&quot;SlideWidth&quot;:960,&quot;SlideHeight&quot;:540}">
            <a:extLst>
              <a:ext uri="{FF2B5EF4-FFF2-40B4-BE49-F238E27FC236}">
                <a16:creationId xmlns:a16="http://schemas.microsoft.com/office/drawing/2014/main" id="{CADF7666-BAC9-4E66-8474-8DD1FC65BD48}"/>
              </a:ext>
            </a:extLst>
          </p:cNvPr>
          <p:cNvSpPr txBox="1"/>
          <p:nvPr userDrawn="1"/>
        </p:nvSpPr>
        <p:spPr>
          <a:xfrm>
            <a:off x="11498459" y="6656129"/>
            <a:ext cx="693541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85280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93" r:id="rId13"/>
    <p:sldLayoutId id="2147483694" r:id="rId14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Logo">
            <a:extLst>
              <a:ext uri="{FF2B5EF4-FFF2-40B4-BE49-F238E27FC236}">
                <a16:creationId xmlns:a16="http://schemas.microsoft.com/office/drawing/2014/main" id="{3C2628D1-2C4E-466C-8ED2-0BBF936C9D6A}"/>
              </a:ext>
            </a:extLst>
          </p:cNvPr>
          <p:cNvSpPr>
            <a:spLocks/>
          </p:cNvSpPr>
          <p:nvPr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>
              <a:latin typeface="+mn-lt"/>
              <a:cs typeface="+mn-cs"/>
            </a:endParaRPr>
          </a:p>
        </p:txBody>
      </p:sp>
      <p:grpSp>
        <p:nvGrpSpPr>
          <p:cNvPr id="5" name="Supporting lines">
            <a:extLst>
              <a:ext uri="{FF2B5EF4-FFF2-40B4-BE49-F238E27FC236}">
                <a16:creationId xmlns:a16="http://schemas.microsoft.com/office/drawing/2014/main" id="{9FB53A73-69D2-4671-A9D6-A17A4290BC4E}"/>
              </a:ext>
            </a:extLst>
          </p:cNvPr>
          <p:cNvGrpSpPr/>
          <p:nvPr/>
        </p:nvGrpSpPr>
        <p:grpSpPr>
          <a:xfrm>
            <a:off x="-128400" y="-127800"/>
            <a:ext cx="12121200" cy="6832800"/>
            <a:chOff x="-128400" y="-127800"/>
            <a:chExt cx="12121200" cy="6832800"/>
          </a:xfrm>
        </p:grpSpPr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02E4C7E6-3387-41F8-9EAD-E47B5A9ECA1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90A978A-7BAF-49DB-BABC-A990A008804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8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6BBF64-B330-4470-9A1F-E5A4734EF75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6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537A0477-93D8-48A8-A035-9D98267DCD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3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31A1A94-C93E-49F0-B200-89371B61037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0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6AAF536-9BA6-4AFE-9100-FE58B83D236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88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4151686A-15C4-4FFA-961B-4F76D94DB43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25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62E777-8C52-479C-AC60-2C9D5D43FE1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63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53D75036-1DD3-4854-B5B9-6595551F241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07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C7957112-40AF-4ACF-B51F-4C590B3738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381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D4AEF7E8-D2DC-4C57-88BD-3553A56B07D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756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2534FF11-DBBB-413C-8314-F1C8439500E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130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51914CF2-B9C8-42DF-AF06-9236BFFE9C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504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46975562-75F0-4BD4-A751-F473B6A1432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9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617830BB-D9CA-42CE-99C6-66622F1AA11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253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779AC6A6-E6E5-4285-A4EA-35CABC76674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628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DCB627BA-14B2-4460-BD26-FBBD93F039A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002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2B23F7E5-6F7C-4F74-863A-A62D2D396A2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376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0A36211D-106F-4F9D-9F9F-CA0674A5A8C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751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C2CABEE8-FAF4-4440-AF4B-22004B9C277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125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BF0A0087-F3D5-4F3B-A1DF-5B2789DD55A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500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8677234F-1CE8-4B48-955E-1245838A1E0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874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671F9C2D-8377-4DE3-BFFF-118ACDB8F39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248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B0AA66E6-ABA6-4C8F-84CE-FEED5DC95B2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623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7C38C08E-3768-4D40-B253-1BE54C53BB8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997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B46208E7-BDF9-42EE-8F8E-364F4231B30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37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24644024-66E6-49F2-B6F2-53D748DA91D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4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2B410132-405B-4ABA-A92D-420B11E0E17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12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F50FE52E-B465-485B-A2FD-F5D406407B6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9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8D24ADCC-0F7F-4654-87EF-EC655FCE31D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86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1CF4FD21-530C-4ACC-9F46-27D654CF920F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24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AD797CB6-894E-4FCA-881E-5BC1BF9B953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61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E89FFA9F-0A14-4344-BF56-120CBB213BC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99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DA3A1F9D-5070-4758-AEA3-63BFA2645D9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43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FC12C6A6-7BD2-467A-8763-05F4FA0550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8082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C8D367F6-6242-48A1-81AC-25136EA76E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1826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B203129A-3612-420D-BC50-908283471D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36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47B300CA-A1A7-4367-9576-17557304AF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04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AF0368B5-E16D-49D8-82F1-7825D0F2F6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28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E5AD53C-5B62-499E-8A20-3700DE0EDF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517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F1863D99-0BC1-4BDB-8690-56085CBD79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7050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8" name="Content Grid" hidden="1">
            <a:extLst>
              <a:ext uri="{FF2B5EF4-FFF2-40B4-BE49-F238E27FC236}">
                <a16:creationId xmlns:a16="http://schemas.microsoft.com/office/drawing/2014/main" id="{016A9DD2-7240-460D-8F15-EB07954CC749}"/>
              </a:ext>
            </a:extLst>
          </p:cNvPr>
          <p:cNvGrpSpPr>
            <a:grpSpLocks/>
          </p:cNvGrpSpPr>
          <p:nvPr>
            <p:custDataLst>
              <p:tags r:id="rId31"/>
            </p:custDataLst>
          </p:nvPr>
        </p:nvGrpSpPr>
        <p:grpSpPr>
          <a:xfrm>
            <a:off x="386400" y="1369800"/>
            <a:ext cx="10872000" cy="4680163"/>
            <a:chOff x="386400" y="1369800"/>
            <a:chExt cx="10872000" cy="4680163"/>
          </a:xfrm>
        </p:grpSpPr>
        <p:cxnSp>
          <p:nvCxnSpPr>
            <p:cNvPr id="90" name="Straight Connector 89" hidden="1">
              <a:extLst>
                <a:ext uri="{FF2B5EF4-FFF2-40B4-BE49-F238E27FC236}">
                  <a16:creationId xmlns:a16="http://schemas.microsoft.com/office/drawing/2014/main" id="{82832892-2597-4AE7-96D4-621BF4776E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B19210E7-8435-44B0-8CC5-E71D6BDDD7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77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39233C6B-DFD3-4832-8671-4D56EE3A8A0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30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13C16988-56C0-4781-B480-F5CF0F46E9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83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E3D5CB83-557E-41D9-A7E7-CFA309C57A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1" name="Straight Connector 120" hidden="1">
              <a:extLst>
                <a:ext uri="{FF2B5EF4-FFF2-40B4-BE49-F238E27FC236}">
                  <a16:creationId xmlns:a16="http://schemas.microsoft.com/office/drawing/2014/main" id="{F4B3DCB7-9BA6-446D-B8B7-A43198EFA5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24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11E9F8A6-9BF4-4D3E-8089-DD140A8AF6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70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57CB75BD-D2D9-4256-B5E7-32F489A938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17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540868F0-DB12-4E17-B1DB-A3FFD300ED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64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A7DD42A3-FD09-4C13-8866-B56B9607FF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11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6FBC1860-5818-42EB-AE1A-9B6D4BA03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58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982A4B0E-EF82-4FCD-B19A-D6995ACD30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604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B29B5915-F6DB-40AA-B721-690E01F833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A880744-6C30-4956-9500-51EBB5086C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900AD28B-C92E-4F85-8046-E6126B7173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4C33EBF-AD8E-45EA-9B82-65E12E1A2A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3C413DF0-6EC9-487B-B6EF-2769C7D5F0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1370013"/>
              <a:ext cx="0" cy="467995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A4E2AA63-CE89-4893-A45D-7811709C5D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5" name="Straight Connector 134" hidden="1">
              <a:extLst>
                <a:ext uri="{FF2B5EF4-FFF2-40B4-BE49-F238E27FC236}">
                  <a16:creationId xmlns:a16="http://schemas.microsoft.com/office/drawing/2014/main" id="{F631F5B1-A6ED-49B4-91D2-E3947FCBF48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6" name="Straight Connector 135" hidden="1">
              <a:extLst>
                <a:ext uri="{FF2B5EF4-FFF2-40B4-BE49-F238E27FC236}">
                  <a16:creationId xmlns:a16="http://schemas.microsoft.com/office/drawing/2014/main" id="{E84F6276-880E-4D15-8DAF-05D51455AD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626022CA-9F72-4133-B7B9-3E52699C0E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42343559-BFBA-4C3E-9209-D9CAF68152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9" name="Straight Connector 138" hidden="1">
              <a:extLst>
                <a:ext uri="{FF2B5EF4-FFF2-40B4-BE49-F238E27FC236}">
                  <a16:creationId xmlns:a16="http://schemas.microsoft.com/office/drawing/2014/main" id="{D52F67DD-E6B8-4BCD-A1DB-A1D4A8DE8F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Straight Connector 139" hidden="1">
              <a:extLst>
                <a:ext uri="{FF2B5EF4-FFF2-40B4-BE49-F238E27FC236}">
                  <a16:creationId xmlns:a16="http://schemas.microsoft.com/office/drawing/2014/main" id="{3172709B-D69F-47C4-AC8D-DEF42B156F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1" name="Straight Connector 140" hidden="1">
              <a:extLst>
                <a:ext uri="{FF2B5EF4-FFF2-40B4-BE49-F238E27FC236}">
                  <a16:creationId xmlns:a16="http://schemas.microsoft.com/office/drawing/2014/main" id="{D26E2B03-97E1-48ED-B853-A22EDAE34F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Straight Connector 141" hidden="1">
              <a:extLst>
                <a:ext uri="{FF2B5EF4-FFF2-40B4-BE49-F238E27FC236}">
                  <a16:creationId xmlns:a16="http://schemas.microsoft.com/office/drawing/2014/main" id="{81F0634A-F5A3-423C-AF13-71056C6024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5" name="Straight Connector 144" hidden="1">
              <a:extLst>
                <a:ext uri="{FF2B5EF4-FFF2-40B4-BE49-F238E27FC236}">
                  <a16:creationId xmlns:a16="http://schemas.microsoft.com/office/drawing/2014/main" id="{1811074E-FE7B-487A-9DC9-998D7A519F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6" name="Straight Connector 145" hidden="1">
              <a:extLst>
                <a:ext uri="{FF2B5EF4-FFF2-40B4-BE49-F238E27FC236}">
                  <a16:creationId xmlns:a16="http://schemas.microsoft.com/office/drawing/2014/main" id="{4B4651AB-0BCF-47DC-ACA4-AFF3274E36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7" name="Straight Connector 146" hidden="1">
              <a:extLst>
                <a:ext uri="{FF2B5EF4-FFF2-40B4-BE49-F238E27FC236}">
                  <a16:creationId xmlns:a16="http://schemas.microsoft.com/office/drawing/2014/main" id="{BBAF41AC-94C0-4628-831A-7CC54CABA3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8" name="Straight Connector 147" hidden="1">
              <a:extLst>
                <a:ext uri="{FF2B5EF4-FFF2-40B4-BE49-F238E27FC236}">
                  <a16:creationId xmlns:a16="http://schemas.microsoft.com/office/drawing/2014/main" id="{FD5FFD6B-DCBB-4D3F-8A11-8EF149657B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9" name="Straight Connector 148" hidden="1">
              <a:extLst>
                <a:ext uri="{FF2B5EF4-FFF2-40B4-BE49-F238E27FC236}">
                  <a16:creationId xmlns:a16="http://schemas.microsoft.com/office/drawing/2014/main" id="{DDCD2B4B-B680-4E86-BF3C-ED9D58EF6D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Straight Connector 149" hidden="1">
              <a:extLst>
                <a:ext uri="{FF2B5EF4-FFF2-40B4-BE49-F238E27FC236}">
                  <a16:creationId xmlns:a16="http://schemas.microsoft.com/office/drawing/2014/main" id="{330D0CD6-750F-4A2A-84CA-61391B3AD5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Straight Connector 150" hidden="1">
              <a:extLst>
                <a:ext uri="{FF2B5EF4-FFF2-40B4-BE49-F238E27FC236}">
                  <a16:creationId xmlns:a16="http://schemas.microsoft.com/office/drawing/2014/main" id="{7FB36FAA-D5F8-4B20-AB85-A027356E9D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Straight Connector 151" hidden="1">
              <a:extLst>
                <a:ext uri="{FF2B5EF4-FFF2-40B4-BE49-F238E27FC236}">
                  <a16:creationId xmlns:a16="http://schemas.microsoft.com/office/drawing/2014/main" id="{5E7272A0-3079-4441-B0E3-1B296C406C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Straight Connector 152" hidden="1">
              <a:extLst>
                <a:ext uri="{FF2B5EF4-FFF2-40B4-BE49-F238E27FC236}">
                  <a16:creationId xmlns:a16="http://schemas.microsoft.com/office/drawing/2014/main" id="{4D6D0597-C4A4-4018-BCE6-4E5755711C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4" name="Straight Connector 153" hidden="1">
              <a:extLst>
                <a:ext uri="{FF2B5EF4-FFF2-40B4-BE49-F238E27FC236}">
                  <a16:creationId xmlns:a16="http://schemas.microsoft.com/office/drawing/2014/main" id="{DFC43681-DD86-42EE-AEBF-C399327C0E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5" name="Straight Connector 154" hidden="1">
              <a:extLst>
                <a:ext uri="{FF2B5EF4-FFF2-40B4-BE49-F238E27FC236}">
                  <a16:creationId xmlns:a16="http://schemas.microsoft.com/office/drawing/2014/main" id="{75986A3B-7D6F-4591-BFB5-C2B58A0130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6" name="Straight Connector 155" hidden="1">
              <a:extLst>
                <a:ext uri="{FF2B5EF4-FFF2-40B4-BE49-F238E27FC236}">
                  <a16:creationId xmlns:a16="http://schemas.microsoft.com/office/drawing/2014/main" id="{77AF5D60-6A2E-4B7A-B95B-196ED827D6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7" name="Straight Connector 156" hidden="1">
              <a:extLst>
                <a:ext uri="{FF2B5EF4-FFF2-40B4-BE49-F238E27FC236}">
                  <a16:creationId xmlns:a16="http://schemas.microsoft.com/office/drawing/2014/main" id="{FB14D75C-3FC5-49E5-93C7-1E5C8D7EC3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8" name="Straight Connector 157" hidden="1">
              <a:extLst>
                <a:ext uri="{FF2B5EF4-FFF2-40B4-BE49-F238E27FC236}">
                  <a16:creationId xmlns:a16="http://schemas.microsoft.com/office/drawing/2014/main" id="{FA9A6FE9-C426-43BE-B7B1-1A8389C7D7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9" name="Straight Connector 158" hidden="1">
              <a:extLst>
                <a:ext uri="{FF2B5EF4-FFF2-40B4-BE49-F238E27FC236}">
                  <a16:creationId xmlns:a16="http://schemas.microsoft.com/office/drawing/2014/main" id="{CA6FCDE4-C28E-402D-A221-89799E3B2B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00" name="Full Grid" hidden="1">
            <a:extLst>
              <a:ext uri="{FF2B5EF4-FFF2-40B4-BE49-F238E27FC236}">
                <a16:creationId xmlns:a16="http://schemas.microsoft.com/office/drawing/2014/main" id="{EAA655A0-4017-4B47-BA09-845E572DCC48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0" y="-70200"/>
            <a:ext cx="12367200" cy="7056000"/>
            <a:chOff x="0" y="-70200"/>
            <a:chExt cx="12367200" cy="7056000"/>
          </a:xfrm>
        </p:grpSpPr>
        <p:cxnSp>
          <p:nvCxnSpPr>
            <p:cNvPr id="301" name="Straight Connector 300" hidden="1">
              <a:extLst>
                <a:ext uri="{FF2B5EF4-FFF2-40B4-BE49-F238E27FC236}">
                  <a16:creationId xmlns:a16="http://schemas.microsoft.com/office/drawing/2014/main" id="{48218EBF-9171-4D8F-A33A-30D1A5E6E3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2" name="Straight Connector 301" hidden="1">
              <a:extLst>
                <a:ext uri="{FF2B5EF4-FFF2-40B4-BE49-F238E27FC236}">
                  <a16:creationId xmlns:a16="http://schemas.microsoft.com/office/drawing/2014/main" id="{6737577C-398F-4B4C-BAB6-A13B2C2B58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3" name="Straight Connector 302" hidden="1">
              <a:extLst>
                <a:ext uri="{FF2B5EF4-FFF2-40B4-BE49-F238E27FC236}">
                  <a16:creationId xmlns:a16="http://schemas.microsoft.com/office/drawing/2014/main" id="{61F3BB77-6340-46D7-AAC4-E788714E87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77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4" name="Straight Connector 303" hidden="1">
              <a:extLst>
                <a:ext uri="{FF2B5EF4-FFF2-40B4-BE49-F238E27FC236}">
                  <a16:creationId xmlns:a16="http://schemas.microsoft.com/office/drawing/2014/main" id="{C32394F9-1C60-48EC-98D6-BA6D5ED17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30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5" name="Straight Connector 304" hidden="1">
              <a:extLst>
                <a:ext uri="{FF2B5EF4-FFF2-40B4-BE49-F238E27FC236}">
                  <a16:creationId xmlns:a16="http://schemas.microsoft.com/office/drawing/2014/main" id="{D2147D71-1001-4518-8300-8371652050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83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6" name="Straight Connector 305" hidden="1">
              <a:extLst>
                <a:ext uri="{FF2B5EF4-FFF2-40B4-BE49-F238E27FC236}">
                  <a16:creationId xmlns:a16="http://schemas.microsoft.com/office/drawing/2014/main" id="{B52B5DD3-B80E-46A0-9CDD-F9D40A5CCB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36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7" name="Straight Connector 306" hidden="1">
              <a:extLst>
                <a:ext uri="{FF2B5EF4-FFF2-40B4-BE49-F238E27FC236}">
                  <a16:creationId xmlns:a16="http://schemas.microsoft.com/office/drawing/2014/main" id="{DA719995-0220-4BB2-8CE9-727CB2069D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90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8" name="Straight Connector 307" hidden="1">
              <a:extLst>
                <a:ext uri="{FF2B5EF4-FFF2-40B4-BE49-F238E27FC236}">
                  <a16:creationId xmlns:a16="http://schemas.microsoft.com/office/drawing/2014/main" id="{CB93CB15-9DE5-4A05-ACB3-BD91B4568D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3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9" name="Straight Connector 308" hidden="1">
              <a:extLst>
                <a:ext uri="{FF2B5EF4-FFF2-40B4-BE49-F238E27FC236}">
                  <a16:creationId xmlns:a16="http://schemas.microsoft.com/office/drawing/2014/main" id="{D4F309E9-DB74-430C-A0E2-5F8AE956D99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342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0" name="Straight Connector 309" hidden="1">
              <a:extLst>
                <a:ext uri="{FF2B5EF4-FFF2-40B4-BE49-F238E27FC236}">
                  <a16:creationId xmlns:a16="http://schemas.microsoft.com/office/drawing/2014/main" id="{A8873914-8F40-4E54-9099-FB5894910A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1" name="Straight Connector 310" hidden="1">
              <a:extLst>
                <a:ext uri="{FF2B5EF4-FFF2-40B4-BE49-F238E27FC236}">
                  <a16:creationId xmlns:a16="http://schemas.microsoft.com/office/drawing/2014/main" id="{324289DE-E0F8-4EDF-8B72-39BDB17E1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70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2" name="Straight Connector 311" hidden="1">
              <a:extLst>
                <a:ext uri="{FF2B5EF4-FFF2-40B4-BE49-F238E27FC236}">
                  <a16:creationId xmlns:a16="http://schemas.microsoft.com/office/drawing/2014/main" id="{48D09DFF-3AC1-4238-A369-3803F5127C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17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3" name="Straight Connector 312" hidden="1">
              <a:extLst>
                <a:ext uri="{FF2B5EF4-FFF2-40B4-BE49-F238E27FC236}">
                  <a16:creationId xmlns:a16="http://schemas.microsoft.com/office/drawing/2014/main" id="{5FBC1CD0-5D1F-458C-86D1-49C908FDF4A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64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4" name="Straight Connector 313" hidden="1">
              <a:extLst>
                <a:ext uri="{FF2B5EF4-FFF2-40B4-BE49-F238E27FC236}">
                  <a16:creationId xmlns:a16="http://schemas.microsoft.com/office/drawing/2014/main" id="{817E8046-BB5A-4AAF-BB94-F80CBF2CBC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11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5" name="Straight Connector 314" hidden="1">
              <a:extLst>
                <a:ext uri="{FF2B5EF4-FFF2-40B4-BE49-F238E27FC236}">
                  <a16:creationId xmlns:a16="http://schemas.microsoft.com/office/drawing/2014/main" id="{E58CCB74-4B3A-4398-8878-75D153D312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58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6" name="Straight Connector 315" hidden="1">
              <a:extLst>
                <a:ext uri="{FF2B5EF4-FFF2-40B4-BE49-F238E27FC236}">
                  <a16:creationId xmlns:a16="http://schemas.microsoft.com/office/drawing/2014/main" id="{033D2289-FEDB-4F0D-8850-03176839BB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04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7" name="Straight Connector 316" hidden="1">
              <a:extLst>
                <a:ext uri="{FF2B5EF4-FFF2-40B4-BE49-F238E27FC236}">
                  <a16:creationId xmlns:a16="http://schemas.microsoft.com/office/drawing/2014/main" id="{6FA0C498-337E-4BE4-86D5-0B5AA7FDAF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51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8" name="Straight Connector 317" hidden="1">
              <a:extLst>
                <a:ext uri="{FF2B5EF4-FFF2-40B4-BE49-F238E27FC236}">
                  <a16:creationId xmlns:a16="http://schemas.microsoft.com/office/drawing/2014/main" id="{511FCAB4-B04C-4B4F-8C2C-3777519DA7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9" name="Straight Connector 318" hidden="1">
              <a:extLst>
                <a:ext uri="{FF2B5EF4-FFF2-40B4-BE49-F238E27FC236}">
                  <a16:creationId xmlns:a16="http://schemas.microsoft.com/office/drawing/2014/main" id="{540E4E6F-888E-47F6-A35B-46E6BDB233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0" name="Straight Connector 319" hidden="1">
              <a:extLst>
                <a:ext uri="{FF2B5EF4-FFF2-40B4-BE49-F238E27FC236}">
                  <a16:creationId xmlns:a16="http://schemas.microsoft.com/office/drawing/2014/main" id="{8D783BB6-4F64-4BA0-8CB5-576365009A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1" name="Straight Connector 320" hidden="1">
              <a:extLst>
                <a:ext uri="{FF2B5EF4-FFF2-40B4-BE49-F238E27FC236}">
                  <a16:creationId xmlns:a16="http://schemas.microsoft.com/office/drawing/2014/main" id="{2FB8091E-B86B-40C7-B438-5A8DAF3F373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2" name="Straight Connector 321" hidden="1">
              <a:extLst>
                <a:ext uri="{FF2B5EF4-FFF2-40B4-BE49-F238E27FC236}">
                  <a16:creationId xmlns:a16="http://schemas.microsoft.com/office/drawing/2014/main" id="{1C622E4C-DE1D-4D72-950C-F6F7F503C7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3" name="Straight Connector 322" hidden="1">
              <a:extLst>
                <a:ext uri="{FF2B5EF4-FFF2-40B4-BE49-F238E27FC236}">
                  <a16:creationId xmlns:a16="http://schemas.microsoft.com/office/drawing/2014/main" id="{E85C9C77-EDDE-4053-851F-97775DB15B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4" name="Straight Connector 323" hidden="1">
              <a:extLst>
                <a:ext uri="{FF2B5EF4-FFF2-40B4-BE49-F238E27FC236}">
                  <a16:creationId xmlns:a16="http://schemas.microsoft.com/office/drawing/2014/main" id="{EDE7F48D-D148-4BD3-9B5A-E9082189498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5" name="Straight Connector 324" hidden="1">
              <a:extLst>
                <a:ext uri="{FF2B5EF4-FFF2-40B4-BE49-F238E27FC236}">
                  <a16:creationId xmlns:a16="http://schemas.microsoft.com/office/drawing/2014/main" id="{8119006E-21FF-40D5-AD9A-E735C49E71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6" name="Straight Connector 325" hidden="1">
              <a:extLst>
                <a:ext uri="{FF2B5EF4-FFF2-40B4-BE49-F238E27FC236}">
                  <a16:creationId xmlns:a16="http://schemas.microsoft.com/office/drawing/2014/main" id="{FF71DEC0-BA85-47AC-9B05-C43CBFEA95E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7" name="Straight Connector 326" hidden="1">
              <a:extLst>
                <a:ext uri="{FF2B5EF4-FFF2-40B4-BE49-F238E27FC236}">
                  <a16:creationId xmlns:a16="http://schemas.microsoft.com/office/drawing/2014/main" id="{4995F406-2D81-4563-A04C-156ED74282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8" name="Straight Connector 327" hidden="1">
              <a:extLst>
                <a:ext uri="{FF2B5EF4-FFF2-40B4-BE49-F238E27FC236}">
                  <a16:creationId xmlns:a16="http://schemas.microsoft.com/office/drawing/2014/main" id="{71FB6C91-9BEA-4E57-B92F-4BE3DAC3BD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9" name="Straight Connector 328" hidden="1">
              <a:extLst>
                <a:ext uri="{FF2B5EF4-FFF2-40B4-BE49-F238E27FC236}">
                  <a16:creationId xmlns:a16="http://schemas.microsoft.com/office/drawing/2014/main" id="{AAF24AF1-EEAD-4D90-965C-9AE126504AD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0" name="Straight Connector 329" hidden="1">
              <a:extLst>
                <a:ext uri="{FF2B5EF4-FFF2-40B4-BE49-F238E27FC236}">
                  <a16:creationId xmlns:a16="http://schemas.microsoft.com/office/drawing/2014/main" id="{2BE91DA1-C8BE-44DC-8452-324FE5B387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1" name="Straight Connector 330" hidden="1">
              <a:extLst>
                <a:ext uri="{FF2B5EF4-FFF2-40B4-BE49-F238E27FC236}">
                  <a16:creationId xmlns:a16="http://schemas.microsoft.com/office/drawing/2014/main" id="{B57928EE-5A2E-47A4-86C8-8E08B795D6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2" name="Straight Connector 331" hidden="1">
              <a:extLst>
                <a:ext uri="{FF2B5EF4-FFF2-40B4-BE49-F238E27FC236}">
                  <a16:creationId xmlns:a16="http://schemas.microsoft.com/office/drawing/2014/main" id="{90817F6C-93C7-4A2F-844D-EEC0864B49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61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3" name="Straight Connector 332" hidden="1">
              <a:extLst>
                <a:ext uri="{FF2B5EF4-FFF2-40B4-BE49-F238E27FC236}">
                  <a16:creationId xmlns:a16="http://schemas.microsoft.com/office/drawing/2014/main" id="{A824F516-3C62-4A83-8A2F-C597C14585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99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4" name="Straight Connector 333" hidden="1">
              <a:extLst>
                <a:ext uri="{FF2B5EF4-FFF2-40B4-BE49-F238E27FC236}">
                  <a16:creationId xmlns:a16="http://schemas.microsoft.com/office/drawing/2014/main" id="{575C7B0F-53E6-404C-A096-E20F0508E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5" name="Straight Connector 334" hidden="1">
              <a:extLst>
                <a:ext uri="{FF2B5EF4-FFF2-40B4-BE49-F238E27FC236}">
                  <a16:creationId xmlns:a16="http://schemas.microsoft.com/office/drawing/2014/main" id="{EEBDA4A6-D35F-4D08-87C9-B93A6EAF40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6" name="Straight Connector 335" hidden="1">
              <a:extLst>
                <a:ext uri="{FF2B5EF4-FFF2-40B4-BE49-F238E27FC236}">
                  <a16:creationId xmlns:a16="http://schemas.microsoft.com/office/drawing/2014/main" id="{627F72B9-76BF-4391-9BC9-E3B85369D8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7" name="Straight Connector 336" hidden="1">
              <a:extLst>
                <a:ext uri="{FF2B5EF4-FFF2-40B4-BE49-F238E27FC236}">
                  <a16:creationId xmlns:a16="http://schemas.microsoft.com/office/drawing/2014/main" id="{F31F1370-C081-4B29-83D7-DB2A4E73AC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8" name="Straight Connector 337" hidden="1">
              <a:extLst>
                <a:ext uri="{FF2B5EF4-FFF2-40B4-BE49-F238E27FC236}">
                  <a16:creationId xmlns:a16="http://schemas.microsoft.com/office/drawing/2014/main" id="{DB23C504-C3EB-442F-81C4-06CEFB43D0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9" name="Straight Connector 338" hidden="1">
              <a:extLst>
                <a:ext uri="{FF2B5EF4-FFF2-40B4-BE49-F238E27FC236}">
                  <a16:creationId xmlns:a16="http://schemas.microsoft.com/office/drawing/2014/main" id="{8F2E88F4-224A-4DF8-A1AD-E99EE2D28BE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0" name="Straight Connector 339" hidden="1">
              <a:extLst>
                <a:ext uri="{FF2B5EF4-FFF2-40B4-BE49-F238E27FC236}">
                  <a16:creationId xmlns:a16="http://schemas.microsoft.com/office/drawing/2014/main" id="{C5EAE255-8630-4283-BDD8-6EE7C540D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1" name="Straight Connector 340" hidden="1">
              <a:extLst>
                <a:ext uri="{FF2B5EF4-FFF2-40B4-BE49-F238E27FC236}">
                  <a16:creationId xmlns:a16="http://schemas.microsoft.com/office/drawing/2014/main" id="{A561162D-47AF-4E01-B81F-CD78A03E1B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2" name="Straight Connector 341" hidden="1">
              <a:extLst>
                <a:ext uri="{FF2B5EF4-FFF2-40B4-BE49-F238E27FC236}">
                  <a16:creationId xmlns:a16="http://schemas.microsoft.com/office/drawing/2014/main" id="{2C20074D-4C49-46CB-9931-819778D38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3" name="Straight Connector 342" hidden="1">
              <a:extLst>
                <a:ext uri="{FF2B5EF4-FFF2-40B4-BE49-F238E27FC236}">
                  <a16:creationId xmlns:a16="http://schemas.microsoft.com/office/drawing/2014/main" id="{062FA2EE-A4D8-4A37-BB39-9A8A23ABE25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4" name="Straight Connector 343" hidden="1">
              <a:extLst>
                <a:ext uri="{FF2B5EF4-FFF2-40B4-BE49-F238E27FC236}">
                  <a16:creationId xmlns:a16="http://schemas.microsoft.com/office/drawing/2014/main" id="{6C661B57-DBAB-41A7-B2AC-C814132D30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5" name="Straight Connector 344" hidden="1">
              <a:extLst>
                <a:ext uri="{FF2B5EF4-FFF2-40B4-BE49-F238E27FC236}">
                  <a16:creationId xmlns:a16="http://schemas.microsoft.com/office/drawing/2014/main" id="{209F4A46-4D75-4F8F-88B9-BE8F6A463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6" name="Straight Connector 345" hidden="1">
              <a:extLst>
                <a:ext uri="{FF2B5EF4-FFF2-40B4-BE49-F238E27FC236}">
                  <a16:creationId xmlns:a16="http://schemas.microsoft.com/office/drawing/2014/main" id="{01FB4020-8697-49A5-812E-93760AA24D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7" name="Straight Connector 346" hidden="1">
              <a:extLst>
                <a:ext uri="{FF2B5EF4-FFF2-40B4-BE49-F238E27FC236}">
                  <a16:creationId xmlns:a16="http://schemas.microsoft.com/office/drawing/2014/main" id="{AB981469-9BFE-432D-A134-6F34C8ECD1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8" name="Straight Connector 347" hidden="1">
              <a:extLst>
                <a:ext uri="{FF2B5EF4-FFF2-40B4-BE49-F238E27FC236}">
                  <a16:creationId xmlns:a16="http://schemas.microsoft.com/office/drawing/2014/main" id="{64F910DD-E3AB-4094-BD87-390D194861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9" name="Straight Connector 348" hidden="1">
              <a:extLst>
                <a:ext uri="{FF2B5EF4-FFF2-40B4-BE49-F238E27FC236}">
                  <a16:creationId xmlns:a16="http://schemas.microsoft.com/office/drawing/2014/main" id="{8172B6B2-B6E9-42F2-9E21-D99612FECB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6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0" name="Straight Connector 349" hidden="1">
              <a:extLst>
                <a:ext uri="{FF2B5EF4-FFF2-40B4-BE49-F238E27FC236}">
                  <a16:creationId xmlns:a16="http://schemas.microsoft.com/office/drawing/2014/main" id="{FF9B3914-70C1-4B52-B02C-76628BFC9B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1" name="Straight Connector 350" hidden="1">
              <a:extLst>
                <a:ext uri="{FF2B5EF4-FFF2-40B4-BE49-F238E27FC236}">
                  <a16:creationId xmlns:a16="http://schemas.microsoft.com/office/drawing/2014/main" id="{FFD30D47-D357-4EF4-A460-4DCBFC957D2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985800"/>
              <a:ext cx="123672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 useBgFill="1">
        <p:nvSpPr>
          <p:cNvPr id="3" name="Title Placeholder">
            <a:extLst>
              <a:ext uri="{FF2B5EF4-FFF2-40B4-BE49-F238E27FC236}">
                <a16:creationId xmlns:a16="http://schemas.microsoft.com/office/drawing/2014/main" id="{6204A2EB-1C19-4C64-81DC-1BDFEC05E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  <a:prstGeom prst="rect">
            <a:avLst/>
          </a:prstGeom>
        </p:spPr>
        <p:txBody>
          <a:bodyPr vert="horz" wrap="square" lIns="0" tIns="360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EDC0CEFE-B93D-446C-A98D-4EBC1C91F3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5764" y="1370012"/>
            <a:ext cx="10858500" cy="46799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27FC136-A26A-487A-91EC-E1BE2A7C6D4D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135064" y="6518273"/>
            <a:ext cx="1076536" cy="139926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fld id="{5639328C-02A3-4E7B-A5AC-FCD1EED96A2F}" type="datetime1">
              <a:rPr lang="nl-NL" smtClean="0"/>
              <a:t>29-4-2024</a:t>
            </a:fld>
            <a:endParaRPr lang="en-US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2C89210A-FBD5-42AA-9FDB-36CC54C9F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 vert="horz" lIns="0" tIns="187200" rIns="7200" bIns="0" rtlCol="0" anchor="b"/>
          <a:lstStyle>
            <a:lvl1pPr>
              <a:defRPr lang="en-US" sz="700"/>
            </a:lvl1pPr>
          </a:lstStyle>
          <a:p>
            <a:fld id="{0BCFE2B0-B5C2-4DBE-AB7C-EC7BB1CB0FCF}" type="slidenum">
              <a:rPr lang="en-US" smtClean="0"/>
              <a:t>‹#›</a:t>
            </a:fld>
            <a:endParaRPr lang="en-US"/>
          </a:p>
        </p:txBody>
      </p:sp>
      <p:sp>
        <p:nvSpPr>
          <p:cNvPr id="102" name="empower - DO NOT DELETE!!!" hidden="1">
            <a:extLst>
              <a:ext uri="{FF2B5EF4-FFF2-40B4-BE49-F238E27FC236}">
                <a16:creationId xmlns:a16="http://schemas.microsoft.com/office/drawing/2014/main" id="{FED25113-06BE-4303-8C56-C7ECFD0C1D96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3" name="Note Footer" hidden="1">
            <a:extLst>
              <a:ext uri="{FF2B5EF4-FFF2-40B4-BE49-F238E27FC236}">
                <a16:creationId xmlns:a16="http://schemas.microsoft.com/office/drawing/2014/main" id="{874FC37C-0743-4F3A-A2FA-52CD313C8FD2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-3170400" y="22636"/>
            <a:ext cx="2901600" cy="2376764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t"/>
          <a:lstStyle/>
          <a:p>
            <a:pPr algn="l"/>
            <a:r>
              <a:rPr lang="en-US" sz="1200" b="1"/>
              <a:t>Add image</a:t>
            </a:r>
          </a:p>
          <a:p>
            <a:pPr algn="l"/>
            <a:r>
              <a:rPr lang="en-US" sz="1200"/>
              <a:t>To add an image to this slide you can drag an image to the slide. Or click the icon to select the image.</a:t>
            </a:r>
          </a:p>
          <a:p>
            <a:pPr algn="l"/>
            <a:r>
              <a:rPr lang="en-US" sz="1200"/>
              <a:t>If you want to reposition the image right click it and select Crop. Now you can use the round handles to change the size or drag the image to reposition it.</a:t>
            </a:r>
          </a:p>
        </p:txBody>
      </p:sp>
      <p:sp>
        <p:nvSpPr>
          <p:cNvPr id="104" name="Note Image" hidden="1">
            <a:extLst>
              <a:ext uri="{FF2B5EF4-FFF2-40B4-BE49-F238E27FC236}">
                <a16:creationId xmlns:a16="http://schemas.microsoft.com/office/drawing/2014/main" id="{490EDF33-79D6-42D6-A539-7968E42924EA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-3170400" y="4892400"/>
            <a:ext cx="2901600" cy="1965600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ctr"/>
          <a:lstStyle/>
          <a:p>
            <a:pPr algn="l"/>
            <a:r>
              <a:rPr lang="en-US" sz="1200" b="1"/>
              <a:t>Add footer</a:t>
            </a:r>
          </a:p>
          <a:p>
            <a:pPr algn="l"/>
            <a:r>
              <a:rPr lang="en-US" sz="1200"/>
              <a:t>You can edit the footer (e.g. presentation description, date) using the slide via the </a:t>
            </a:r>
            <a:r>
              <a:rPr lang="en-US" sz="1200" b="1"/>
              <a:t>empower(R) presentation settings.</a:t>
            </a:r>
          </a:p>
          <a:p>
            <a:pPr algn="l"/>
            <a:r>
              <a:rPr lang="en-US" sz="1200"/>
              <a:t>Select and set the elements you want to show on either one or all slid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AF629C-9AF9-4125-871F-9B5251005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8400" y="6518277"/>
            <a:ext cx="8985600" cy="139924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endParaRPr lang="en-US"/>
          </a:p>
        </p:txBody>
      </p:sp>
      <p:sp>
        <p:nvSpPr>
          <p:cNvPr id="6" name="MSIPCMContentMarking" descr="{&quot;HashCode&quot;:-1584269589,&quot;Placement&quot;:&quot;Footer&quot;,&quot;Top&quot;:524.1047,&quot;Left&quot;:905.3905,&quot;SlideWidth&quot;:960,&quot;SlideHeight&quot;:540}">
            <a:extLst>
              <a:ext uri="{FF2B5EF4-FFF2-40B4-BE49-F238E27FC236}">
                <a16:creationId xmlns:a16="http://schemas.microsoft.com/office/drawing/2014/main" id="{2AA08C0E-8D9B-408B-A3AB-24F81D11F026}"/>
              </a:ext>
            </a:extLst>
          </p:cNvPr>
          <p:cNvSpPr txBox="1"/>
          <p:nvPr/>
        </p:nvSpPr>
        <p:spPr>
          <a:xfrm>
            <a:off x="11498459" y="6656129"/>
            <a:ext cx="693541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8818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</p:sldLayoutIdLst>
  <p:hf hdr="0" ftr="0"/>
  <p:txStyles>
    <p:titleStyle>
      <a:lvl1pPr algn="l" defTabSz="374400" rtl="0" eaLnBrk="1" latinLnBrk="0" hangingPunct="1">
        <a:lnSpc>
          <a:spcPct val="100000"/>
        </a:lnSpc>
        <a:spcBef>
          <a:spcPct val="0"/>
        </a:spcBef>
        <a:spcAft>
          <a:spcPts val="737"/>
        </a:spcAft>
        <a:buNone/>
        <a:defRPr sz="24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8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4220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64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90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8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4220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64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90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3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asml-it-ccb-bdbi.atlassian.net/browse/IART-9465" TargetMode="External"/><Relationship Id="rId3" Type="http://schemas.openxmlformats.org/officeDocument/2006/relationships/hyperlink" Target="https://asml-it-ccb-bdbi.atlassian.net/browse/IART-9464" TargetMode="External"/><Relationship Id="rId7" Type="http://schemas.openxmlformats.org/officeDocument/2006/relationships/hyperlink" Target="https://asml-it-ccb-bdbi.atlassian.net/browse/IART-9652" TargetMode="External"/><Relationship Id="rId2" Type="http://schemas.openxmlformats.org/officeDocument/2006/relationships/hyperlink" Target="https://asml-it-ccb-bdbi.atlassian.net/browse/IART-9416" TargetMode="External"/><Relationship Id="rId1" Type="http://schemas.openxmlformats.org/officeDocument/2006/relationships/slideLayout" Target="../slideLayouts/slideLayout41.xml"/><Relationship Id="rId6" Type="http://schemas.openxmlformats.org/officeDocument/2006/relationships/hyperlink" Target="https://asml-it-ccb-bdbi.atlassian.net/browse/IART-9594" TargetMode="External"/><Relationship Id="rId11" Type="http://schemas.openxmlformats.org/officeDocument/2006/relationships/hyperlink" Target="https://asml-it-ccb-bdbi.atlassian.net/browse/IART-9021" TargetMode="External"/><Relationship Id="rId5" Type="http://schemas.openxmlformats.org/officeDocument/2006/relationships/hyperlink" Target="https://asml-it-ccb-bdbi.atlassian.net/browse/IART-9553" TargetMode="External"/><Relationship Id="rId10" Type="http://schemas.openxmlformats.org/officeDocument/2006/relationships/hyperlink" Target="https://asml-it-ccb-bdbi.atlassian.net/browse/IART-8490" TargetMode="External"/><Relationship Id="rId4" Type="http://schemas.openxmlformats.org/officeDocument/2006/relationships/hyperlink" Target="https://asml-it-ccb-bdbi.atlassian.net/browse/IART-9617" TargetMode="External"/><Relationship Id="rId9" Type="http://schemas.openxmlformats.org/officeDocument/2006/relationships/hyperlink" Target="https://asml-it-ccb-bdbi.atlassian.net/browse/IART-9019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sml-it-ccb-bdbi.atlassian.net/browse/IART-9012" TargetMode="External"/><Relationship Id="rId2" Type="http://schemas.openxmlformats.org/officeDocument/2006/relationships/hyperlink" Target="https://asml-it-ccb-bdbi.atlassian.net/browse/IART-9021" TargetMode="External"/><Relationship Id="rId1" Type="http://schemas.openxmlformats.org/officeDocument/2006/relationships/slideLayout" Target="../slideLayouts/slideLayout41.xml"/><Relationship Id="rId5" Type="http://schemas.openxmlformats.org/officeDocument/2006/relationships/hyperlink" Target="https://asml-it-ccb-bdbi.atlassian.net/browse/IART-8937" TargetMode="External"/><Relationship Id="rId4" Type="http://schemas.openxmlformats.org/officeDocument/2006/relationships/hyperlink" Target="https://asml-it-ccb-bdbi.atlassian.net/browse/IART-9064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asml-it-ccb-bdbi.atlassian.net/browse/IART-8930" TargetMode="External"/><Relationship Id="rId2" Type="http://schemas.openxmlformats.org/officeDocument/2006/relationships/hyperlink" Target="https://asml-it-ccb-bdbi.atlassian.net/browse/IART-8050" TargetMode="External"/><Relationship Id="rId1" Type="http://schemas.openxmlformats.org/officeDocument/2006/relationships/slideLayout" Target="../slideLayouts/slideLayout41.xml"/><Relationship Id="rId4" Type="http://schemas.openxmlformats.org/officeDocument/2006/relationships/hyperlink" Target="https://asml-it-ccb-bdbi.atlassian.net/browse/IART-8981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4566E1D1-7011-4ED9-BAE4-91CBE091CF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4566E1D1-7011-4ED9-BAE4-91CBE091C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4E82A28A-291F-4169-BBCD-3489F0C0AFF1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6"/>
          <a:srcRect t="2086" b="2086"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520B4003-630C-40C7-92CE-C52458250A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6926" y="2025000"/>
            <a:ext cx="7467600" cy="467820"/>
          </a:xfrm>
        </p:spPr>
        <p:txBody>
          <a:bodyPr vert="horz"/>
          <a:lstStyle/>
          <a:p>
            <a:r>
              <a:rPr lang="en-US" b="1"/>
              <a:t>Infra ART- </a:t>
            </a:r>
            <a:r>
              <a:rPr lang="en-US" b="1">
                <a:solidFill>
                  <a:srgbClr val="FFFFFF"/>
                </a:solidFill>
                <a:latin typeface="Arial"/>
                <a:ea typeface="Microsoft JhengHei"/>
                <a:cs typeface="Arial"/>
              </a:rPr>
              <a:t>Datacenter Connectivity</a:t>
            </a:r>
            <a:endParaRPr lang="en-US" b="1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2051057-42C9-470C-BC28-FF505582449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/>
              <a:t>PI24.2 Sprint 2  Review</a:t>
            </a:r>
          </a:p>
          <a:p>
            <a:endParaRPr lang="en-US">
              <a:solidFill>
                <a:schemeClr val="lt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069B8B6-DBE4-4EE6-8BEE-C51F62FFD8D4}"/>
              </a:ext>
            </a:extLst>
          </p:cNvPr>
          <p:cNvSpPr txBox="1"/>
          <p:nvPr/>
        </p:nvSpPr>
        <p:spPr>
          <a:xfrm>
            <a:off x="2106704" y="5562600"/>
            <a:ext cx="7467600" cy="91598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91440" rIns="182880" bIns="0" rtlCol="0" anchor="t" anchorCtr="0">
            <a:noAutofit/>
          </a:bodyPr>
          <a:lstStyle/>
          <a:p>
            <a:pPr marL="0" marR="0" lvl="0" indent="0" algn="ctr" defTabSz="374400" rtl="0" eaLnBrk="1" fontAlgn="auto" latinLnBrk="0" hangingPunct="1"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JhengHei"/>
                <a:cs typeface="72 Black" panose="020B0A04030603020204" pitchFamily="34" charset="0"/>
              </a:rPr>
              <a:t>Innovating the ASML standard IT Infra services,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JhengHei"/>
                <a:cs typeface="72 Black" panose="020B0A04030603020204" pitchFamily="34" charset="0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JhengHei"/>
                <a:cs typeface="72 Black" panose="020B0A04030603020204" pitchFamily="34" charset="0"/>
              </a:rPr>
              <a:t>ensuring they are easy to request, easy to consume,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JhengHei"/>
                <a:cs typeface="72 Black" panose="020B0A04030603020204" pitchFamily="34" charset="0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icrosoft JhengHei"/>
                <a:cs typeface="72 Black" panose="020B0A04030603020204" pitchFamily="34" charset="0"/>
              </a:rPr>
              <a:t>secure and always on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4F5335A8-B1AF-415C-8069-86582A6CA061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386926" y="3614462"/>
            <a:ext cx="2063311" cy="422938"/>
          </a:xfrm>
        </p:spPr>
        <p:txBody>
          <a:bodyPr/>
          <a:lstStyle/>
          <a:p>
            <a:pPr marL="0" marR="0" lvl="0" indent="0" algn="l" defTabSz="374400" rtl="0" eaLnBrk="1" fontAlgn="auto" latinLnBrk="0" hangingPunct="1">
              <a:lnSpc>
                <a:spcPct val="95000"/>
              </a:lnSpc>
              <a:spcBef>
                <a:spcPts val="369"/>
              </a:spcBef>
              <a:spcAft>
                <a:spcPts val="737"/>
              </a:spcAft>
              <a:buClrTx/>
              <a:buSzTx/>
              <a:buFontTx/>
              <a:buNone/>
              <a:tabLst/>
              <a:defRPr/>
            </a:pPr>
            <a:fld id="{B6BD1D6F-0509-4478-9421-D8B4FBF8801D}" type="datetime1">
              <a:rPr kumimoji="0" lang="nl-NL" sz="1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icrosoft JhengHei"/>
                <a:cs typeface="Arial"/>
              </a:rPr>
              <a:t>29-4-2024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363A647-1D95-4CA6-B351-7825AA49A7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374400" rtl="0" eaLnBrk="1" fontAlgn="auto" latinLnBrk="0" hangingPunct="1"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buClrTx/>
              <a:buSzTx/>
              <a:buFontTx/>
              <a:buNone/>
              <a:tabLst/>
              <a:defRPr/>
            </a:pPr>
            <a:fld id="{A2218858-49EA-4BF8-8EFE-B88A4580565A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Microsoft JhengHei"/>
                <a:cs typeface="Arial"/>
              </a:rPr>
              <a:pPr marL="0" marR="0" lvl="0" indent="0" algn="r" defTabSz="374400" rtl="0" eaLnBrk="1" fontAlgn="auto" latinLnBrk="0" hangingPunct="1">
                <a:lnSpc>
                  <a:spcPct val="95000"/>
                </a:lnSpc>
                <a:spcBef>
                  <a:spcPts val="369"/>
                </a:spcBef>
                <a:spcAft>
                  <a:spcPts val="369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8B3DA4FF-9923-01EE-A81C-BC926E1F89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2617" y="2884471"/>
            <a:ext cx="1363608" cy="1882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9">
            <a:extLst>
              <a:ext uri="{FF2B5EF4-FFF2-40B4-BE49-F238E27FC236}">
                <a16:creationId xmlns:a16="http://schemas.microsoft.com/office/drawing/2014/main" id="{1094F64E-792D-6167-F253-44A1A36E2F4D}"/>
              </a:ext>
            </a:extLst>
          </p:cNvPr>
          <p:cNvSpPr txBox="1">
            <a:spLocks/>
          </p:cNvSpPr>
          <p:nvPr/>
        </p:nvSpPr>
        <p:spPr>
          <a:xfrm>
            <a:off x="4189507" y="4585086"/>
            <a:ext cx="2554856" cy="422938"/>
          </a:xfrm>
          <a:prstGeom prst="rect">
            <a:avLst/>
          </a:prstGeom>
        </p:spPr>
        <p:txBody>
          <a:bodyPr vert="horz" wrap="square" lIns="0" tIns="187200" rIns="0" bIns="0" rtlCol="0" anchor="b">
            <a:spAutoFit/>
          </a:bodyPr>
          <a:lstStyle>
            <a:defPPr>
              <a:defRPr lang="en-US"/>
            </a:defPPr>
            <a:lvl1pPr marL="0" algn="l" defTabSz="374400" rtl="0" eaLnBrk="1" latinLnBrk="0" hangingPunct="1">
              <a:lnSpc>
                <a:spcPct val="95000"/>
              </a:lnSpc>
              <a:spcAft>
                <a:spcPts val="737"/>
              </a:spcAft>
              <a:defRPr lang="en-US" sz="16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69"/>
              </a:spcBef>
              <a:defRPr/>
            </a:pPr>
            <a:r>
              <a:rPr lang="en-US" b="1">
                <a:solidFill>
                  <a:srgbClr val="FFFFFF"/>
                </a:solidFill>
                <a:latin typeface="Arial"/>
                <a:ea typeface="Microsoft JhengHei"/>
                <a:cs typeface="Arial"/>
              </a:rPr>
              <a:t>Datacenter Connectivity</a:t>
            </a:r>
          </a:p>
        </p:txBody>
      </p:sp>
    </p:spTree>
    <p:extLst>
      <p:ext uri="{BB962C8B-B14F-4D97-AF65-F5344CB8AC3E}">
        <p14:creationId xmlns:p14="http://schemas.microsoft.com/office/powerpoint/2010/main" val="3731881724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66C700BE-FFA4-6C29-E1A4-69055E74D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</p:spPr>
        <p:txBody>
          <a:bodyPr/>
          <a:lstStyle/>
          <a:p>
            <a:r>
              <a:rPr lang="en-US"/>
              <a:t>Infra ART – Datacenter Connectivity PI24.2						Sprint 2 Review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3EA6839D-B8F6-1232-66F6-B041FD9EF3C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2B17E9-F832-6766-3650-A81E945DB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</a:t>
            </a:fld>
            <a:endParaRPr lang="en-US"/>
          </a:p>
        </p:txBody>
      </p:sp>
      <p:graphicFrame>
        <p:nvGraphicFramePr>
          <p:cNvPr id="13" name="Table 60">
            <a:extLst>
              <a:ext uri="{FF2B5EF4-FFF2-40B4-BE49-F238E27FC236}">
                <a16:creationId xmlns:a16="http://schemas.microsoft.com/office/drawing/2014/main" id="{B076B9CB-656D-5B08-A1FC-D95D0D8C3B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5373562"/>
              </p:ext>
            </p:extLst>
          </p:nvPr>
        </p:nvGraphicFramePr>
        <p:xfrm>
          <a:off x="385763" y="817684"/>
          <a:ext cx="11039424" cy="23041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763">
                  <a:extLst>
                    <a:ext uri="{9D8B030D-6E8A-4147-A177-3AD203B41FA5}">
                      <a16:colId xmlns:a16="http://schemas.microsoft.com/office/drawing/2014/main" val="2058102498"/>
                    </a:ext>
                  </a:extLst>
                </a:gridCol>
                <a:gridCol w="3248414">
                  <a:extLst>
                    <a:ext uri="{9D8B030D-6E8A-4147-A177-3AD203B41FA5}">
                      <a16:colId xmlns:a16="http://schemas.microsoft.com/office/drawing/2014/main" val="4195591496"/>
                    </a:ext>
                  </a:extLst>
                </a:gridCol>
                <a:gridCol w="1623060">
                  <a:extLst>
                    <a:ext uri="{9D8B030D-6E8A-4147-A177-3AD203B41FA5}">
                      <a16:colId xmlns:a16="http://schemas.microsoft.com/office/drawing/2014/main" val="3941599697"/>
                    </a:ext>
                  </a:extLst>
                </a:gridCol>
                <a:gridCol w="2697480">
                  <a:extLst>
                    <a:ext uri="{9D8B030D-6E8A-4147-A177-3AD203B41FA5}">
                      <a16:colId xmlns:a16="http://schemas.microsoft.com/office/drawing/2014/main" val="2041663801"/>
                    </a:ext>
                  </a:extLst>
                </a:gridCol>
                <a:gridCol w="2631707">
                  <a:extLst>
                    <a:ext uri="{9D8B030D-6E8A-4147-A177-3AD203B41FA5}">
                      <a16:colId xmlns:a16="http://schemas.microsoft.com/office/drawing/2014/main" val="2516455995"/>
                    </a:ext>
                  </a:extLst>
                </a:gridCol>
              </a:tblGrid>
              <a:tr h="845333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IA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Feat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Business Val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What’s done</a:t>
                      </a:r>
                    </a:p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(deliverable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What’s nex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24681268"/>
                  </a:ext>
                </a:extLst>
              </a:tr>
              <a:tr h="147549">
                <a:tc>
                  <a:txBody>
                    <a:bodyPr/>
                    <a:lstStyle/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i="1" kern="1200" baseline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900" b="0" kern="1200" baseline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fr-FR" sz="900" b="0" i="0" u="none" strike="noStrike" kern="1200" baseline="0" noProof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endParaRPr lang="fr-FR" sz="900" b="0" i="0" kern="1200" baseline="0" noProof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8117158"/>
                  </a:ext>
                </a:extLst>
              </a:tr>
              <a:tr h="147549">
                <a:tc>
                  <a:txBody>
                    <a:bodyPr/>
                    <a:lstStyle/>
                    <a:p>
                      <a:pPr algn="ctr"/>
                      <a:endParaRPr lang="en-US" sz="9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fr-FR" sz="900" b="0" i="0" u="none" strike="noStrike" kern="1200" baseline="0" noProof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endParaRPr lang="fr-FR" sz="900" b="0" i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83214010"/>
                  </a:ext>
                </a:extLst>
              </a:tr>
              <a:tr h="147549">
                <a:tc>
                  <a:txBody>
                    <a:bodyPr/>
                    <a:lstStyle/>
                    <a:p>
                      <a:pPr algn="ctr"/>
                      <a:endParaRPr lang="en-US" sz="9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900" b="1" kern="1200" baseline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fr-FR" sz="900" b="0" i="0" u="none" strike="noStrike" kern="1200" baseline="0" noProof="0" err="1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endParaRPr lang="fr-FR" sz="900" b="0" i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1056730"/>
                  </a:ext>
                </a:extLst>
              </a:tr>
              <a:tr h="147549">
                <a:tc>
                  <a:txBody>
                    <a:bodyPr/>
                    <a:lstStyle/>
                    <a:p>
                      <a:pPr algn="ctr"/>
                      <a:endParaRPr lang="en-US" sz="9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900" b="0" kern="1200" baseline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fr-FR" sz="900" b="0" i="0" u="none" strike="noStrike" kern="1200" baseline="0" noProof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endParaRPr lang="fr-FR" sz="900" b="0" i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0088383"/>
                  </a:ext>
                </a:extLst>
              </a:tr>
              <a:tr h="147549">
                <a:tc>
                  <a:txBody>
                    <a:bodyPr/>
                    <a:lstStyle/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i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900" b="1" kern="1200" baseline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fr-FR" sz="900" b="0" i="0" u="none" strike="noStrike" kern="1200" baseline="0" noProof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endParaRPr lang="fr-FR" sz="900" b="0" i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3661222"/>
                  </a:ext>
                </a:extLst>
              </a:tr>
              <a:tr h="147549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/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900" b="1">
                        <a:latin typeface="Arial"/>
                        <a:cs typeface="Arial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baseline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900" b="0" i="0" u="none" strike="noStrike" kern="1200" baseline="0" noProof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,Sans-Serif" panose="020B0604020202020204" pitchFamily="34" charset="0"/>
                        <a:buChar char="•"/>
                      </a:pPr>
                      <a:endParaRPr lang="en-US" sz="900" b="0" i="0" u="none" strike="noStrike" kern="1200" baseline="0" noProof="0">
                        <a:solidFill>
                          <a:schemeClr val="dk1"/>
                        </a:solidFill>
                        <a:effectLst/>
                        <a:latin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04512665"/>
                  </a:ext>
                </a:extLst>
              </a:tr>
            </a:tbl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A0292B-EA6D-2AF7-9FA9-F7B9BD4B1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5E7CE2C-3B43-40AC-9C69-0A59C153E47D}" type="datetime1">
              <a:rPr lang="nl-NL" smtClean="0"/>
              <a:t>29-4-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35030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66C700BE-FFA4-6C29-E1A4-69055E74D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</p:spPr>
        <p:txBody>
          <a:bodyPr/>
          <a:lstStyle/>
          <a:p>
            <a:r>
              <a:rPr lang="en-US"/>
              <a:t>Infra ART – Datacenter Connectivity PI24.2						Sprint 2 Review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3EA6839D-B8F6-1232-66F6-B041FD9EF3C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2B17E9-F832-6766-3650-A81E945DB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3</a:t>
            </a:fld>
            <a:endParaRPr lang="en-US"/>
          </a:p>
        </p:txBody>
      </p:sp>
      <p:graphicFrame>
        <p:nvGraphicFramePr>
          <p:cNvPr id="13" name="Table 60">
            <a:extLst>
              <a:ext uri="{FF2B5EF4-FFF2-40B4-BE49-F238E27FC236}">
                <a16:creationId xmlns:a16="http://schemas.microsoft.com/office/drawing/2014/main" id="{B076B9CB-656D-5B08-A1FC-D95D0D8C3B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8450632"/>
              </p:ext>
            </p:extLst>
          </p:nvPr>
        </p:nvGraphicFramePr>
        <p:xfrm>
          <a:off x="385763" y="817684"/>
          <a:ext cx="11039424" cy="72741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763">
                  <a:extLst>
                    <a:ext uri="{9D8B030D-6E8A-4147-A177-3AD203B41FA5}">
                      <a16:colId xmlns:a16="http://schemas.microsoft.com/office/drawing/2014/main" val="2058102498"/>
                    </a:ext>
                  </a:extLst>
                </a:gridCol>
                <a:gridCol w="3248414">
                  <a:extLst>
                    <a:ext uri="{9D8B030D-6E8A-4147-A177-3AD203B41FA5}">
                      <a16:colId xmlns:a16="http://schemas.microsoft.com/office/drawing/2014/main" val="4195591496"/>
                    </a:ext>
                  </a:extLst>
                </a:gridCol>
                <a:gridCol w="1623060">
                  <a:extLst>
                    <a:ext uri="{9D8B030D-6E8A-4147-A177-3AD203B41FA5}">
                      <a16:colId xmlns:a16="http://schemas.microsoft.com/office/drawing/2014/main" val="3941599697"/>
                    </a:ext>
                  </a:extLst>
                </a:gridCol>
                <a:gridCol w="2697480">
                  <a:extLst>
                    <a:ext uri="{9D8B030D-6E8A-4147-A177-3AD203B41FA5}">
                      <a16:colId xmlns:a16="http://schemas.microsoft.com/office/drawing/2014/main" val="2041663801"/>
                    </a:ext>
                  </a:extLst>
                </a:gridCol>
                <a:gridCol w="2631707">
                  <a:extLst>
                    <a:ext uri="{9D8B030D-6E8A-4147-A177-3AD203B41FA5}">
                      <a16:colId xmlns:a16="http://schemas.microsoft.com/office/drawing/2014/main" val="2516455995"/>
                    </a:ext>
                  </a:extLst>
                </a:gridCol>
              </a:tblGrid>
              <a:tr h="804338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IA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Feat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Business Val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What’s done</a:t>
                      </a:r>
                    </a:p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(deliverable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What’s nex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24681268"/>
                  </a:ext>
                </a:extLst>
              </a:tr>
              <a:tr h="488132"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hlinkClick r:id="rId2"/>
                        </a:rPr>
                        <a:t>IART-9416</a:t>
                      </a:r>
                      <a:endParaRPr lang="en-US" sz="900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1" u="none" strike="noStrike" kern="1200" baseline="0" noProof="0">
                          <a:solidFill>
                            <a:schemeClr val="dk1"/>
                          </a:solidFill>
                          <a:effectLst/>
                        </a:rPr>
                        <a:t>Ren</a:t>
                      </a:r>
                      <a:r>
                        <a:rPr lang="nl-NL" sz="900" b="0" i="1" u="none" strike="noStrike" kern="1200" baseline="0" noProof="0">
                          <a:solidFill>
                            <a:schemeClr val="dk1"/>
                          </a:solidFill>
                          <a:effectLst/>
                        </a:rPr>
                        <a:t>é</a:t>
                      </a:r>
                      <a:endParaRPr lang="en-US" sz="900" b="0" i="1" u="none" strike="noStrike" kern="1200" baseline="0" noProof="0">
                        <a:solidFill>
                          <a:schemeClr val="dk1"/>
                        </a:solidFill>
                        <a:effectLst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err="1"/>
                        <a:t>LiveNX</a:t>
                      </a:r>
                      <a:r>
                        <a:rPr lang="en-US" sz="900"/>
                        <a:t> - Analysis of current setup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900" b="0"/>
                        <a:t>Clean environment</a:t>
                      </a:r>
                      <a:endParaRPr lang="en-US" sz="9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l-NL" sz="900" b="0" strike="noStrike" kern="1200" baseline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urrent</a:t>
                      </a: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etup is </a:t>
                      </a:r>
                      <a:r>
                        <a:rPr lang="nl-NL" sz="900" b="0" strike="noStrike" kern="1200" baseline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alysed</a:t>
                      </a:r>
                      <a:endParaRPr lang="en-US" sz="900" b="0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US" sz="900" b="0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8117158"/>
                  </a:ext>
                </a:extLst>
              </a:tr>
              <a:tr h="422031">
                <a:tc>
                  <a:txBody>
                    <a:bodyPr/>
                    <a:lstStyle/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hlinkClick r:id="rId3"/>
                        </a:rPr>
                        <a:t>IART-9464</a:t>
                      </a:r>
                      <a:endParaRPr lang="en-US" sz="900"/>
                    </a:p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 kern="1200" baseline="0" noProof="0">
                          <a:solidFill>
                            <a:schemeClr val="dk1"/>
                          </a:solidFill>
                          <a:effectLst/>
                        </a:rPr>
                        <a:t>Ren</a:t>
                      </a:r>
                      <a:r>
                        <a:rPr lang="nl-NL" sz="900" b="0" i="1" u="none" strike="noStrike" kern="1200" baseline="0" noProof="0">
                          <a:solidFill>
                            <a:schemeClr val="dk1"/>
                          </a:solidFill>
                          <a:effectLst/>
                        </a:rPr>
                        <a:t>é</a:t>
                      </a:r>
                      <a:endParaRPr lang="en-US" sz="900" b="0" i="1" u="none" strike="noStrike" kern="1200" baseline="0" noProof="0">
                        <a:solidFill>
                          <a:schemeClr val="dk1"/>
                        </a:solidFill>
                        <a:effectLst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err="1"/>
                        <a:t>LiveNX</a:t>
                      </a:r>
                      <a:r>
                        <a:rPr lang="en-US" sz="900"/>
                        <a:t> - creating runbooks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900" b="0"/>
                        <a:t>Clean environment</a:t>
                      </a:r>
                      <a:endParaRPr lang="en-US" sz="9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l-NL" sz="900" b="0" strike="noStrike" kern="1200" baseline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unbook</a:t>
                      </a: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900" b="0" strike="noStrike" kern="1200" baseline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ated</a:t>
                      </a:r>
                      <a:endParaRPr lang="nl-NL" sz="900" b="0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l-NL" sz="900" kern="1200" baseline="0">
                          <a:solidFill>
                            <a:schemeClr val="dk1"/>
                          </a:solidFill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  <a:endParaRPr lang="en-US" sz="900" kern="1200" baseline="0">
                        <a:solidFill>
                          <a:schemeClr val="dk1"/>
                        </a:solidFill>
                        <a:latin typeface="+mn-lt"/>
                        <a:ea typeface="+mn-lt"/>
                        <a:cs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83214010"/>
                  </a:ext>
                </a:extLst>
              </a:tr>
              <a:tr h="464478"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hlinkClick r:id="rId4"/>
                        </a:rPr>
                        <a:t>IART-9617</a:t>
                      </a:r>
                      <a:endParaRPr lang="en-US" sz="900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1" u="none" strike="noStrike" kern="1200" baseline="0" noProof="0">
                          <a:solidFill>
                            <a:schemeClr val="dk1"/>
                          </a:solidFill>
                          <a:effectLst/>
                        </a:rPr>
                        <a:t>Ren</a:t>
                      </a:r>
                      <a:r>
                        <a:rPr lang="nl-NL" sz="900" b="0" i="1" u="none" strike="noStrike" kern="1200" baseline="0" noProof="0">
                          <a:solidFill>
                            <a:schemeClr val="dk1"/>
                          </a:solidFill>
                          <a:effectLst/>
                        </a:rPr>
                        <a:t>é</a:t>
                      </a:r>
                      <a:endParaRPr lang="en-US" sz="900" b="0" i="1" u="none" strike="noStrike" kern="1200" baseline="0" noProof="0">
                        <a:solidFill>
                          <a:schemeClr val="dk1"/>
                        </a:solidFill>
                        <a:effectLst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err="1"/>
                        <a:t>LiveNX</a:t>
                      </a:r>
                      <a:r>
                        <a:rPr lang="en-US" sz="900"/>
                        <a:t> DC FW, F5, FMC Cleanup execution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l-NL" sz="900" b="0"/>
                        <a:t>Clean environment</a:t>
                      </a:r>
                      <a:endParaRPr lang="en-US" sz="9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l-NL" sz="900" b="0" strike="noStrike" kern="1200" baseline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eanup</a:t>
                      </a: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s </a:t>
                      </a:r>
                      <a:r>
                        <a:rPr lang="nl-NL" sz="900" b="0" strike="noStrike" kern="1200" baseline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ecuted</a:t>
                      </a:r>
                      <a:endParaRPr lang="en-US" sz="900" b="0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US" sz="900" b="0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35397832"/>
                  </a:ext>
                </a:extLst>
              </a:tr>
              <a:tr h="464478"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hlinkClick r:id="rId5"/>
                        </a:rPr>
                        <a:t>IART-9553</a:t>
                      </a:r>
                      <a:endParaRPr lang="en-US" sz="900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1" u="none" strike="noStrike" kern="1200" baseline="0" noProof="0">
                          <a:solidFill>
                            <a:schemeClr val="dk1"/>
                          </a:solidFill>
                          <a:effectLst/>
                        </a:rPr>
                        <a:t>René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/>
                        <a:t>FRA continuation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lidation of the selected provider for FRA </a:t>
                      </a:r>
                    </a:p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sed on predefined </a:t>
                      </a:r>
                    </a:p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quire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l-NL" sz="900" b="0" strike="noStrike" kern="1200" baseline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rticipated</a:t>
                      </a: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meetings </a:t>
                      </a:r>
                      <a:r>
                        <a:rPr lang="nl-NL" sz="900" b="0" strike="noStrike" kern="1200" baseline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900" b="0" strike="noStrike" kern="1200" baseline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orked</a:t>
                      </a: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900" b="0" strike="noStrike" kern="1200" baseline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gether</a:t>
                      </a: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n a slidedeck</a:t>
                      </a:r>
                      <a:endParaRPr lang="en-US" sz="900" b="0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US" sz="900" b="0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2305599"/>
                  </a:ext>
                </a:extLst>
              </a:tr>
              <a:tr h="464478"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hlinkClick r:id="rId6"/>
                        </a:rPr>
                        <a:t>IART-9594</a:t>
                      </a:r>
                      <a:endParaRPr lang="en-US" sz="900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1" u="none" strike="noStrike" kern="1200" baseline="0" noProof="0">
                          <a:solidFill>
                            <a:schemeClr val="dk1"/>
                          </a:solidFill>
                          <a:effectLst/>
                        </a:rPr>
                        <a:t>René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/>
                        <a:t>Bresplus support 24.2 sp2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900" b="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t a stable Bresplus setup</a:t>
                      </a:r>
                      <a:endParaRPr lang="en-US" sz="900" b="0" kern="1200" baseline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oubleshoot connectivity</a:t>
                      </a:r>
                      <a:endParaRPr lang="en-US" sz="900" b="0" strike="noStrike" kern="1200" baseline="0" err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inue supporting</a:t>
                      </a:r>
                      <a:endParaRPr lang="en-US" sz="900" b="0" strike="noStrike" kern="1200" baseline="0" err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4203948"/>
                  </a:ext>
                </a:extLst>
              </a:tr>
              <a:tr h="464478"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hlinkClick r:id="rId7"/>
                        </a:rPr>
                        <a:t>IART-9652</a:t>
                      </a:r>
                      <a:endParaRPr lang="en-US" sz="900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1" u="none" strike="noStrike" kern="1200" baseline="0" noProof="0">
                          <a:solidFill>
                            <a:schemeClr val="dk1"/>
                          </a:solidFill>
                          <a:effectLst/>
                        </a:rPr>
                        <a:t>René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/>
                        <a:t>Agree and update header policy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baseline="0" noProof="0">
                          <a:solidFill>
                            <a:srgbClr val="000000"/>
                          </a:solidFill>
                          <a:latin typeface="+mn-lt"/>
                        </a:rPr>
                        <a:t>Protect against Cyber Attacks</a:t>
                      </a:r>
                      <a:endParaRPr lang="en-US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ign with OPS on a new header Policy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ate new header Policy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pported automation team on access to connectivity LAB setup</a:t>
                      </a:r>
                      <a:endParaRPr lang="en-US" sz="900" b="0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plement new header policy on small set of firewalls and validate.</a:t>
                      </a:r>
                      <a:endParaRPr lang="en-US" sz="900" b="0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30433178"/>
                  </a:ext>
                </a:extLst>
              </a:tr>
              <a:tr h="464478"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hlinkClick r:id="rId8"/>
                        </a:rPr>
                        <a:t>IART-9465</a:t>
                      </a:r>
                      <a:endParaRPr lang="en-US" sz="900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1" u="none" strike="noStrike" kern="1200" baseline="0" noProof="0">
                          <a:solidFill>
                            <a:schemeClr val="dk1"/>
                          </a:solidFill>
                          <a:effectLst/>
                        </a:rPr>
                        <a:t>René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r>
                        <a:rPr lang="en-US" sz="900" b="1"/>
                        <a:t>Extend firewall logging with Allowed traffic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rgbClr val="000000"/>
                          </a:solidFill>
                          <a:latin typeface="+mn-lt"/>
                        </a:rPr>
                        <a:t>Protect against Cyber Attacks</a:t>
                      </a:r>
                      <a:endParaRPr lang="en-US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ate slidedeck on vendor feedback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sent slidedeck</a:t>
                      </a:r>
                      <a:endParaRPr lang="en-US" sz="900" b="0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 </a:t>
                      </a:r>
                      <a:r>
                        <a:rPr lang="nl-NL" sz="900" b="0" strike="noStrike" kern="1200" baseline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C</a:t>
                      </a: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900" b="0" strike="noStrike" kern="1200" baseline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sed</a:t>
                      </a: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n </a:t>
                      </a:r>
                      <a:r>
                        <a:rPr lang="nl-NL" sz="900" b="0" strike="noStrike" kern="1200" baseline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utcome</a:t>
                      </a:r>
                      <a:r>
                        <a:rPr lang="nl-NL" sz="900" b="0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f HNT meeting</a:t>
                      </a:r>
                      <a:endParaRPr lang="en-US" sz="900" b="0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687790"/>
                  </a:ext>
                </a:extLst>
              </a:tr>
              <a:tr h="1116439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sng" strike="noStrike" kern="1200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  <a:hlinkClick r:id="rId9"/>
                        </a:rPr>
                        <a:t>IART-9019</a:t>
                      </a:r>
                      <a:endParaRPr lang="en-US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1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zo</a:t>
                      </a:r>
                      <a:endParaRPr lang="en-US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1" u="none" strike="noStrike" kern="1200" baseline="0" noProof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 i="0" u="none" strike="noStrike" kern="1200" baseline="0" noProof="0">
                          <a:solidFill>
                            <a:srgbClr val="000000"/>
                          </a:solidFill>
                          <a:latin typeface="Arial"/>
                        </a:rPr>
                        <a:t>CR Automation-Isolating DC zone from ASML</a:t>
                      </a:r>
                      <a:endParaRPr lang="en-US"/>
                    </a:p>
                    <a:p>
                      <a:pPr marL="0" marR="0" lvl="0" indent="0" algn="l" defTabSz="37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baseline="0">
                        <a:solidFill>
                          <a:schemeClr val="dk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rgbClr val="000000"/>
                          </a:solidFill>
                          <a:latin typeface="Arial"/>
                        </a:rPr>
                        <a:t>Protect against Cyber Attacks</a:t>
                      </a:r>
                      <a:endParaRPr lang="en-US"/>
                    </a:p>
                    <a:p>
                      <a:pPr marL="0" marR="0" lvl="0" indent="0" algn="ctr" defTabSz="37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baseline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fr-FR" sz="900" b="0" i="0" u="none" strike="noStrike" kern="1200" baseline="0" noProof="0">
                          <a:solidFill>
                            <a:srgbClr val="000000"/>
                          </a:solidFill>
                        </a:rPr>
                        <a:t>succesfully updated the Threat IP list via the API (on the global vdom for each physical cluster). Rene is next week going to check how to apply the entries to a predefined rule in the header policy.</a:t>
                      </a:r>
                      <a:endParaRPr lang="fr-FR" sz="900" b="0" i="0" u="none" strike="noStrike" kern="1200" baseline="0" noProof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fr-FR" sz="900" b="0" i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rtijn</a:t>
                      </a:r>
                      <a:r>
                        <a:rPr lang="fr-FR" sz="900" b="0" i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fr-FR" sz="900" b="0" i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nnen</a:t>
                      </a:r>
                      <a:r>
                        <a:rPr lang="fr-FR" sz="900" b="0" i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fr-FR" sz="900" b="0" i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s</a:t>
                      </a:r>
                      <a:r>
                        <a:rPr lang="fr-FR" sz="900" b="0" i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n vacation and I dont have </a:t>
                      </a:r>
                      <a:r>
                        <a:rPr lang="fr-FR" sz="900" b="0" i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cess</a:t>
                      </a:r>
                      <a:r>
                        <a:rPr lang="fr-FR" sz="900" b="0" i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to the automation </a:t>
                      </a:r>
                      <a:r>
                        <a:rPr lang="fr-FR" sz="900" b="0" i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ols</a:t>
                      </a:r>
                      <a:r>
                        <a:rPr lang="fr-FR" sz="900" b="0" i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</a:t>
                      </a:r>
                      <a:r>
                        <a:rPr lang="fr-FR" sz="900" b="0" i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undeck</a:t>
                      </a:r>
                      <a:r>
                        <a:rPr lang="fr-FR" sz="900" b="0" i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and ansible). I have to </a:t>
                      </a:r>
                      <a:r>
                        <a:rPr lang="fr-FR" sz="900" b="0" i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ait</a:t>
                      </a:r>
                      <a:r>
                        <a:rPr lang="fr-FR" sz="900" b="0" i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for </a:t>
                      </a:r>
                      <a:r>
                        <a:rPr lang="fr-FR" sz="900" b="0" i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is</a:t>
                      </a:r>
                      <a:r>
                        <a:rPr lang="fr-FR" sz="900" b="0" i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return </a:t>
                      </a:r>
                      <a:r>
                        <a:rPr lang="fr-FR" sz="900" b="0" i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o</a:t>
                      </a:r>
                      <a:r>
                        <a:rPr lang="fr-FR" sz="900" b="0" i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fr-FR" sz="900" b="0" i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</a:t>
                      </a:r>
                      <a:r>
                        <a:rPr lang="fr-FR" sz="900" b="0" i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can continue </a:t>
                      </a:r>
                      <a:r>
                        <a:rPr lang="fr-FR" sz="900" b="0" i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orking</a:t>
                      </a:r>
                      <a:r>
                        <a:rPr lang="fr-FR" sz="900" b="0" i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fr-FR" sz="900" b="0" i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gether</a:t>
                      </a:r>
                      <a:r>
                        <a:rPr lang="fr-FR" sz="900" b="0" i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n the next step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9300171"/>
                  </a:ext>
                </a:extLst>
              </a:tr>
              <a:tr h="699635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  <a:hlinkClick r:id="rId10"/>
                        </a:rPr>
                        <a:t>IART-8490</a:t>
                      </a:r>
                      <a:endParaRPr lang="en-US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1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zo</a:t>
                      </a:r>
                      <a:endParaRPr lang="en-US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1" u="none" strike="noStrike" kern="1200" baseline="0" noProof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fr-FR" sz="900" b="1" i="0" u="none" strike="noStrike" kern="1200" baseline="0" noProof="0">
                          <a:solidFill>
                            <a:srgbClr val="000000"/>
                          </a:solidFill>
                          <a:latin typeface="Arial"/>
                        </a:rPr>
                        <a:t>CMDB Data Extraction from DCC Hardware</a:t>
                      </a:r>
                      <a:endParaRPr lang="en-US"/>
                    </a:p>
                    <a:p>
                      <a:pPr marL="0" marR="0" lvl="0" indent="0" algn="l" defTabSz="37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900" b="1" kern="1200" baseline="0">
                        <a:solidFill>
                          <a:schemeClr val="dk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rgbClr val="000000"/>
                          </a:solidFill>
                          <a:latin typeface="Arial"/>
                        </a:rPr>
                        <a:t>Define and facilitate data sources for DC Platform, automating data injection to optimize ServiceNow database</a:t>
                      </a:r>
                      <a:endParaRPr lang="en-US"/>
                    </a:p>
                    <a:p>
                      <a:pPr marL="0" marR="0" lvl="0" indent="0" algn="ctr" defTabSz="37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baseline="0" noProof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fr-FR" sz="900" b="0" i="0" u="none" strike="noStrike" kern="1200" baseline="0" noProof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endParaRPr lang="fr-FR" sz="900" b="0" i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1056730"/>
                  </a:ext>
                </a:extLst>
              </a:tr>
              <a:tr h="565662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  <a:hlinkClick r:id="rId11"/>
                        </a:rPr>
                        <a:t>IART-9021</a:t>
                      </a:r>
                      <a:endParaRPr lang="en-US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1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zo</a:t>
                      </a:r>
                      <a:endParaRPr lang="en-US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1" u="none" strike="noStrike" kern="1200" baseline="0" noProof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1" i="0" u="none" strike="noStrike" kern="1200" baseline="0" noProof="0">
                          <a:solidFill>
                            <a:srgbClr val="000000"/>
                          </a:solidFill>
                          <a:latin typeface="Arial"/>
                        </a:rPr>
                        <a:t>NDH 2.0 – Placeholder- enabling R7 /Ansible for compliancy testing</a:t>
                      </a:r>
                      <a:endParaRPr lang="en-US"/>
                    </a:p>
                    <a:p>
                      <a:pPr marL="0" marR="0" lvl="0" indent="0" algn="l" defTabSz="37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baseline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mprove Risk &amp; Compliance against new (CIS) baselines</a:t>
                      </a:r>
                      <a:endParaRPr lang="en-US"/>
                    </a:p>
                    <a:p>
                      <a:pPr lvl="0" algn="ctr">
                        <a:buNone/>
                      </a:pPr>
                      <a:endParaRPr lang="en-US" sz="900" b="1" i="0" u="none" strike="noStrike" noProof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fr-FR" sz="900" b="0" i="0" u="none" strike="noStrike" kern="1200" baseline="0" noProof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endParaRPr lang="fr-FR" sz="900" b="0" i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86651993"/>
                  </a:ext>
                </a:extLst>
              </a:tr>
            </a:tbl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A0292B-EA6D-2AF7-9FA9-F7B9BD4B1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5E7CE2C-3B43-40AC-9C69-0A59C153E47D}" type="datetime1">
              <a:rPr lang="nl-NL" smtClean="0"/>
              <a:t>29-4-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9050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66C700BE-FFA4-6C29-E1A4-69055E74D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</p:spPr>
        <p:txBody>
          <a:bodyPr/>
          <a:lstStyle/>
          <a:p>
            <a:r>
              <a:rPr lang="en-US"/>
              <a:t>Infra ART – Datacenter Connectivity PI24.2						Sprint 2 Review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3EA6839D-B8F6-1232-66F6-B041FD9EF3C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2B17E9-F832-6766-3650-A81E945DB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4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A0292B-EA6D-2AF7-9FA9-F7B9BD4B1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5E7CE2C-3B43-40AC-9C69-0A59C153E47D}" type="datetime1">
              <a:rPr lang="nl-NL" smtClean="0"/>
              <a:t>29-4-2024</a:t>
            </a:fld>
            <a:endParaRPr lang="en-US"/>
          </a:p>
        </p:txBody>
      </p:sp>
      <p:graphicFrame>
        <p:nvGraphicFramePr>
          <p:cNvPr id="4" name="Table 60">
            <a:extLst>
              <a:ext uri="{FF2B5EF4-FFF2-40B4-BE49-F238E27FC236}">
                <a16:creationId xmlns:a16="http://schemas.microsoft.com/office/drawing/2014/main" id="{07F53EC5-3887-AF17-58B0-A8089D69A8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0241395"/>
              </p:ext>
            </p:extLst>
          </p:nvPr>
        </p:nvGraphicFramePr>
        <p:xfrm>
          <a:off x="391778" y="806355"/>
          <a:ext cx="11039422" cy="44217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5974">
                  <a:extLst>
                    <a:ext uri="{9D8B030D-6E8A-4147-A177-3AD203B41FA5}">
                      <a16:colId xmlns:a16="http://schemas.microsoft.com/office/drawing/2014/main" val="2058102498"/>
                    </a:ext>
                  </a:extLst>
                </a:gridCol>
                <a:gridCol w="3161202">
                  <a:extLst>
                    <a:ext uri="{9D8B030D-6E8A-4147-A177-3AD203B41FA5}">
                      <a16:colId xmlns:a16="http://schemas.microsoft.com/office/drawing/2014/main" val="4195591496"/>
                    </a:ext>
                  </a:extLst>
                </a:gridCol>
                <a:gridCol w="1623059">
                  <a:extLst>
                    <a:ext uri="{9D8B030D-6E8A-4147-A177-3AD203B41FA5}">
                      <a16:colId xmlns:a16="http://schemas.microsoft.com/office/drawing/2014/main" val="3941599697"/>
                    </a:ext>
                  </a:extLst>
                </a:gridCol>
                <a:gridCol w="2697480">
                  <a:extLst>
                    <a:ext uri="{9D8B030D-6E8A-4147-A177-3AD203B41FA5}">
                      <a16:colId xmlns:a16="http://schemas.microsoft.com/office/drawing/2014/main" val="2041663801"/>
                    </a:ext>
                  </a:extLst>
                </a:gridCol>
                <a:gridCol w="2631707">
                  <a:extLst>
                    <a:ext uri="{9D8B030D-6E8A-4147-A177-3AD203B41FA5}">
                      <a16:colId xmlns:a16="http://schemas.microsoft.com/office/drawing/2014/main" val="2516455995"/>
                    </a:ext>
                  </a:extLst>
                </a:gridCol>
              </a:tblGrid>
              <a:tr h="845333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IA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Feat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Business Val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What’s done</a:t>
                      </a:r>
                    </a:p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(deliverable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What’s nex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24681268"/>
                  </a:ext>
                </a:extLst>
              </a:tr>
              <a:tr h="635129">
                <a:tc>
                  <a:txBody>
                    <a:bodyPr/>
                    <a:lstStyle/>
                    <a:p>
                      <a:pPr algn="ctr" rtl="0" fontAlgn="auto"/>
                      <a:r>
                        <a:rPr lang="en-US" sz="900" b="0" i="0" u="sng" strike="noStrike">
                          <a:solidFill>
                            <a:srgbClr val="00A3E0"/>
                          </a:solidFill>
                          <a:effectLst/>
                          <a:latin typeface="Arial" panose="020B0604020202020204" pitchFamily="34" charset="0"/>
                          <a:hlinkClick r:id="rId2"/>
                        </a:rPr>
                        <a:t>IART-9021</a:t>
                      </a: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ctr" rtl="0" fontAlgn="base"/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hrinivas</a:t>
                      </a: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9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reation of approved ASML CIS Baselines</a:t>
                      </a: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rove Risk &amp; Compliance against new (CIS) baselines</a:t>
                      </a: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waiting for the review document. 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CMDB data updated for F5 and FGT solution 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jay T (EO) requested to hold / not to update the file as requirement is being finalized.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6083223"/>
                  </a:ext>
                </a:extLst>
              </a:tr>
              <a:tr h="147549">
                <a:tc>
                  <a:txBody>
                    <a:bodyPr/>
                    <a:lstStyle/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sng" strike="noStrike">
                          <a:solidFill>
                            <a:srgbClr val="00A3E0"/>
                          </a:solidFill>
                          <a:effectLst/>
                          <a:latin typeface="Arial" panose="020B0604020202020204" pitchFamily="34" charset="0"/>
                        </a:rPr>
                        <a:t>IART-9011</a:t>
                      </a:r>
                      <a:endParaRPr lang="en-US" sz="9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auto"/>
                      <a:r>
                        <a:rPr lang="en-US" sz="900" b="0" i="0" u="sng" strike="noStrike">
                          <a:solidFill>
                            <a:srgbClr val="00A3E0"/>
                          </a:solidFill>
                          <a:effectLst/>
                          <a:latin typeface="Arial" panose="020B0604020202020204" pitchFamily="34" charset="0"/>
                          <a:hlinkClick r:id="rId3"/>
                        </a:rPr>
                        <a:t>IART-9012</a:t>
                      </a: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ctr" rtl="0" fontAlgn="base"/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hrinivas</a:t>
                      </a: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9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eoDNS - IT FC DevEnv Greenhouse design phase</a:t>
                      </a: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/ Implementation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bility to steer client-server traffic to nearest Datacenter, improving user experience</a:t>
                      </a: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Deployed the F5, AppC, Firewall rules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sted the connectivity and application access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tup working fine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andover to Ops for support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None/>
                      </a:pPr>
                      <a:r>
                        <a:rPr lang="en-US" sz="9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85015933"/>
                  </a:ext>
                </a:extLst>
              </a:tr>
              <a:tr h="147549">
                <a:tc>
                  <a:txBody>
                    <a:bodyPr/>
                    <a:lstStyle/>
                    <a:p>
                      <a:pPr algn="ctr" rtl="0" fontAlgn="auto"/>
                      <a:r>
                        <a:rPr lang="en-US" sz="900" b="0" i="0" u="sng" strike="noStrike">
                          <a:solidFill>
                            <a:srgbClr val="00A3E0"/>
                          </a:solidFill>
                          <a:effectLst/>
                          <a:latin typeface="Arial" panose="020B0604020202020204" pitchFamily="34" charset="0"/>
                          <a:hlinkClick r:id="rId4"/>
                        </a:rPr>
                        <a:t>IART-9064</a:t>
                      </a: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ctr" rtl="0" fontAlgn="base"/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hrinivas</a:t>
                      </a: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fr-FR" sz="9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adbalancer configuration extraction - Production environment</a:t>
                      </a:r>
                      <a:r>
                        <a:rPr lang="fr-F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fr-FR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crease visibility on the status of the ADC environment for workload / application owners</a:t>
                      </a: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elect option of Cibrl fetching the information from F5 device. 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Need to schedule further meeting with technical team to share the ACC success and replicate the same in Product Env.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chedule meeting on 14</a:t>
                      </a:r>
                      <a:r>
                        <a:rPr lang="en-US" sz="900" b="0" i="0" baseline="30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h</a:t>
                      </a: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May @3pm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35598459"/>
                  </a:ext>
                </a:extLst>
              </a:tr>
              <a:tr h="147549">
                <a:tc>
                  <a:txBody>
                    <a:bodyPr/>
                    <a:lstStyle/>
                    <a:p>
                      <a:pPr algn="ctr" rtl="0" fontAlgn="auto"/>
                      <a:r>
                        <a:rPr lang="en-US" sz="900" b="0" i="0" u="sng" strike="noStrike">
                          <a:solidFill>
                            <a:srgbClr val="00A3E0"/>
                          </a:solidFill>
                          <a:effectLst/>
                          <a:latin typeface="Arial" panose="020B0604020202020204" pitchFamily="34" charset="0"/>
                          <a:hlinkClick r:id="rId5"/>
                        </a:rPr>
                        <a:t>IART-8937</a:t>
                      </a: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ctr" rtl="0" fontAlgn="base"/>
                      <a:r>
                        <a:rPr lang="en-US" sz="9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hrinivas</a:t>
                      </a: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eoDNS – SAP Implement including Cloud ADC/Workload</a:t>
                      </a: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auto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Completed the failover testing.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Client raise a concern about Non VPN US users redirect to EID site.  The setup is working fine as per design – VPN user with LDNS access is redirected to closest DC.  If there is strong business case then raise a request.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83214010"/>
                  </a:ext>
                </a:extLst>
              </a:tr>
              <a:tr h="147549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1" u="none" strike="noStrike" kern="1200" baseline="0" noProof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37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baseline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baseline="0" noProof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endParaRPr lang="en-US" sz="900" b="0" i="0" u="none" strike="noStrike" kern="1200" baseline="0" noProof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,Sans-Serif" panose="020B0604020202020204" pitchFamily="34" charset="0"/>
                        <a:buChar char="•"/>
                      </a:pPr>
                      <a:endParaRPr lang="en-US" sz="900" b="0" i="0" u="none" strike="noStrike" noProof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258193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26934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66C700BE-FFA4-6C29-E1A4-69055E74D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</p:spPr>
        <p:txBody>
          <a:bodyPr/>
          <a:lstStyle/>
          <a:p>
            <a:r>
              <a:rPr lang="en-US"/>
              <a:t>Infra ART – Datacenter Connectivity PI24.2						Sprint 2 Review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3EA6839D-B8F6-1232-66F6-B041FD9EF3C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2B17E9-F832-6766-3650-A81E945DB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5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A0292B-EA6D-2AF7-9FA9-F7B9BD4B1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5E7CE2C-3B43-40AC-9C69-0A59C153E47D}" type="datetime1">
              <a:rPr lang="nl-NL" smtClean="0"/>
              <a:t>29-4-2024</a:t>
            </a:fld>
            <a:endParaRPr lang="en-US"/>
          </a:p>
        </p:txBody>
      </p:sp>
      <p:graphicFrame>
        <p:nvGraphicFramePr>
          <p:cNvPr id="4" name="Table 60">
            <a:extLst>
              <a:ext uri="{FF2B5EF4-FFF2-40B4-BE49-F238E27FC236}">
                <a16:creationId xmlns:a16="http://schemas.microsoft.com/office/drawing/2014/main" id="{07F53EC5-3887-AF17-58B0-A8089D69A8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9551969"/>
              </p:ext>
            </p:extLst>
          </p:nvPr>
        </p:nvGraphicFramePr>
        <p:xfrm>
          <a:off x="391778" y="806355"/>
          <a:ext cx="11039422" cy="35988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5072">
                  <a:extLst>
                    <a:ext uri="{9D8B030D-6E8A-4147-A177-3AD203B41FA5}">
                      <a16:colId xmlns:a16="http://schemas.microsoft.com/office/drawing/2014/main" val="2058102498"/>
                    </a:ext>
                  </a:extLst>
                </a:gridCol>
                <a:gridCol w="3012104">
                  <a:extLst>
                    <a:ext uri="{9D8B030D-6E8A-4147-A177-3AD203B41FA5}">
                      <a16:colId xmlns:a16="http://schemas.microsoft.com/office/drawing/2014/main" val="4195591496"/>
                    </a:ext>
                  </a:extLst>
                </a:gridCol>
                <a:gridCol w="1623059">
                  <a:extLst>
                    <a:ext uri="{9D8B030D-6E8A-4147-A177-3AD203B41FA5}">
                      <a16:colId xmlns:a16="http://schemas.microsoft.com/office/drawing/2014/main" val="3941599697"/>
                    </a:ext>
                  </a:extLst>
                </a:gridCol>
                <a:gridCol w="2697480">
                  <a:extLst>
                    <a:ext uri="{9D8B030D-6E8A-4147-A177-3AD203B41FA5}">
                      <a16:colId xmlns:a16="http://schemas.microsoft.com/office/drawing/2014/main" val="2041663801"/>
                    </a:ext>
                  </a:extLst>
                </a:gridCol>
                <a:gridCol w="2631707">
                  <a:extLst>
                    <a:ext uri="{9D8B030D-6E8A-4147-A177-3AD203B41FA5}">
                      <a16:colId xmlns:a16="http://schemas.microsoft.com/office/drawing/2014/main" val="2516455995"/>
                    </a:ext>
                  </a:extLst>
                </a:gridCol>
              </a:tblGrid>
              <a:tr h="845333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IA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Feat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Business Val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What’s done</a:t>
                      </a:r>
                    </a:p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(deliverable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bg1"/>
                          </a:solidFill>
                        </a:rPr>
                        <a:t>What’s nex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24681268"/>
                  </a:ext>
                </a:extLst>
              </a:tr>
              <a:tr h="635129">
                <a:tc>
                  <a:txBody>
                    <a:bodyPr/>
                    <a:lstStyle/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ART-8050</a:t>
                      </a:r>
                      <a:endParaRPr lang="en-US" sz="900" kern="1200" baseline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rtl="0" fontAlgn="auto"/>
                      <a:r>
                        <a:rPr lang="en-US" sz="9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ubh, Re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37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veNX –Cleanup PoC –Datacenter	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37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nsure removal of unused configuration lines	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37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veNX Cleanup runbook created.</a:t>
                      </a:r>
                    </a:p>
                    <a:p>
                      <a:pPr marL="171450" indent="-171450" algn="l" defTabSz="37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veNX Cleanup executed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 defTabSz="37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Tx/>
                        <a:buNone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eature Closed from DCLAN perspective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6083223"/>
                  </a:ext>
                </a:extLst>
              </a:tr>
              <a:tr h="147549">
                <a:tc>
                  <a:txBody>
                    <a:bodyPr/>
                    <a:lstStyle/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3"/>
                        </a:rPr>
                        <a:t>IART-8930</a:t>
                      </a:r>
                      <a:endParaRPr lang="en-US" sz="900" kern="1200" baseline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ubh, William, Re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37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low collection on Network equipment	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37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nsure increased control and visibility on (near) real-time network traffic for RBA via several platforms	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NetFlow feasibility complete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POC feasibility in progress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plunk team supports NetFlow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iscussion with EPIC Owner about the POC Feasibility</a:t>
                      </a:r>
                    </a:p>
                    <a:p>
                      <a:pPr marL="171450" indent="-171450"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plunk team will setup NetFlow Infr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85015933"/>
                  </a:ext>
                </a:extLst>
              </a:tr>
              <a:tr h="147549">
                <a:tc>
                  <a:txBody>
                    <a:bodyPr/>
                    <a:lstStyle/>
                    <a:p>
                      <a:pPr algn="ctr" rtl="0" fontAlgn="auto"/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  <a:hlinkClick r:id="rId4"/>
                        </a:rPr>
                        <a:t>IART-8981</a:t>
                      </a:r>
                      <a:endParaRPr lang="en-US" sz="9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ctr" rtl="0" fontAlgn="auto"/>
                      <a:r>
                        <a:rPr lang="en-US" sz="900" b="0" i="0">
                          <a:solidFill>
                            <a:srgbClr val="000000"/>
                          </a:solidFill>
                          <a:effectLst/>
                        </a:rPr>
                        <a:t>Shubh, Re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37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mplement SIEM -Use cases for Secure Chamber Perimeter	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37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acilitate in creating more insight usage of connectivity constructs within HighNA environment	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udit logging enabled in ACI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ny logging enabled in Firewall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udit logging enabled in Firew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plunk team is working on Audit logging onboarding for firewall.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kern="1200" baseline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DC Team will enable alert from Splunk log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35598459"/>
                  </a:ext>
                </a:extLst>
              </a:tr>
              <a:tr h="147549">
                <a:tc>
                  <a:txBody>
                    <a:bodyPr/>
                    <a:lstStyle/>
                    <a:p>
                      <a:pPr algn="ctr" rtl="0" fontAlgn="auto"/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auto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endParaRPr lang="en-US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endParaRPr lang="en-US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83214010"/>
                  </a:ext>
                </a:extLst>
              </a:tr>
              <a:tr h="147549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1" u="none" strike="noStrike" kern="1200" baseline="0" noProof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37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 u="none" strike="noStrike" kern="1200" baseline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37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baseline="0" noProof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endParaRPr lang="en-US" sz="900" b="0" i="0" u="none" strike="noStrike" kern="1200" baseline="0" noProof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Arial,Sans-Serif" panose="020B0604020202020204" pitchFamily="34" charset="0"/>
                        <a:buChar char="•"/>
                      </a:pPr>
                      <a:endParaRPr lang="en-US" sz="900" b="0" i="0" u="none" strike="noStrike" noProof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258193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53338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06866EA-675E-4A32-817B-C515C80497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73590" y="1088974"/>
            <a:ext cx="5836216" cy="3042163"/>
          </a:xfrm>
        </p:spPr>
        <p:txBody>
          <a:bodyPr/>
          <a:lstStyle/>
          <a:p>
            <a:pPr marL="0" indent="0">
              <a:buNone/>
            </a:pPr>
            <a:r>
              <a:rPr lang="en-US" sz="4400"/>
              <a:t>Thank for your time!</a:t>
            </a:r>
          </a:p>
          <a:p>
            <a:endParaRPr lang="en-US" sz="4400"/>
          </a:p>
          <a:p>
            <a:pPr marL="0" indent="0">
              <a:buNone/>
            </a:pPr>
            <a:r>
              <a:rPr lang="en-US" sz="4400"/>
              <a:t>Questions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D18AD1-FC8A-48A5-93E0-17DBA63A9C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>
            <a:normAutofit fontScale="55000" lnSpcReduction="20000"/>
          </a:bodyPr>
          <a:lstStyle/>
          <a:p>
            <a:r>
              <a:rPr lang="en-US"/>
              <a:t>Veldhoven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779F860-A847-49ED-92A3-07D7474C31E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E2A3FCA-A1EC-4B6E-A668-393E14764A45}" type="datetime1">
              <a:rPr lang="nl-NL" smtClean="0"/>
              <a:t>29-4-2024</a:t>
            </a:fld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C734C34-C5ED-4119-B7F2-4FDA76A2C5C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fld id="{A2218858-49EA-4BF8-8EFE-B88A4580565A}" type="slidenum">
              <a:rPr lang="en-US" dirty="0" smtClean="0"/>
              <a:pPr algn="r">
                <a:lnSpc>
                  <a:spcPct val="110000"/>
                </a:lnSpc>
                <a:spcAft>
                  <a:spcPts val="0"/>
                </a:spcAft>
              </a:pPr>
              <a:t>6</a:t>
            </a:fld>
            <a:endParaRPr lang="en-US"/>
          </a:p>
        </p:txBody>
      </p:sp>
      <p:pic>
        <p:nvPicPr>
          <p:cNvPr id="3" name="Picture Placeholder 4">
            <a:extLst>
              <a:ext uri="{FF2B5EF4-FFF2-40B4-BE49-F238E27FC236}">
                <a16:creationId xmlns:a16="http://schemas.microsoft.com/office/drawing/2014/main" id="{69CE84EB-FB58-C3A6-5986-9667719AE6A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6" r="2036"/>
          <a:stretch>
            <a:fillRect/>
          </a:stretch>
        </p:blipFill>
        <p:spPr>
          <a:xfrm>
            <a:off x="8338120" y="1625770"/>
            <a:ext cx="3586539" cy="4846829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A09C9FF-E3B3-1DBB-4F07-4807253E4309}"/>
              </a:ext>
            </a:extLst>
          </p:cNvPr>
          <p:cNvSpPr txBox="1">
            <a:spLocks/>
          </p:cNvSpPr>
          <p:nvPr/>
        </p:nvSpPr>
        <p:spPr>
          <a:xfrm>
            <a:off x="4918380" y="4233946"/>
            <a:ext cx="3319660" cy="23996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 b="1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6E476B3-AAE7-E4C6-5CB4-A57239F1A2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5820" y="2202513"/>
            <a:ext cx="1499672" cy="2070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9">
            <a:extLst>
              <a:ext uri="{FF2B5EF4-FFF2-40B4-BE49-F238E27FC236}">
                <a16:creationId xmlns:a16="http://schemas.microsoft.com/office/drawing/2014/main" id="{BD4F97B7-E74F-E94C-91FF-A3804C009519}"/>
              </a:ext>
            </a:extLst>
          </p:cNvPr>
          <p:cNvSpPr txBox="1">
            <a:spLocks/>
          </p:cNvSpPr>
          <p:nvPr/>
        </p:nvSpPr>
        <p:spPr>
          <a:xfrm>
            <a:off x="4106286" y="4026045"/>
            <a:ext cx="2689800" cy="481416"/>
          </a:xfrm>
          <a:prstGeom prst="rect">
            <a:avLst/>
          </a:prstGeom>
        </p:spPr>
        <p:txBody>
          <a:bodyPr vert="horz" wrap="square" lIns="0" tIns="187200" rIns="0" bIns="0" rtlCol="0" anchor="b">
            <a:spAutoFit/>
          </a:bodyPr>
          <a:lstStyle>
            <a:defPPr>
              <a:defRPr lang="en-US"/>
            </a:defPPr>
            <a:lvl1pPr marL="0" algn="l" defTabSz="374400" rtl="0" eaLnBrk="1" latinLnBrk="0" hangingPunct="1">
              <a:lnSpc>
                <a:spcPct val="95000"/>
              </a:lnSpc>
              <a:spcAft>
                <a:spcPts val="737"/>
              </a:spcAft>
              <a:defRPr lang="en-US" sz="16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69"/>
              </a:spcBef>
              <a:defRPr/>
            </a:pPr>
            <a:r>
              <a:rPr lang="en-US" sz="2000" b="1"/>
              <a:t>Datacenter Connectivity</a:t>
            </a:r>
            <a:endParaRPr lang="en-US" b="1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E67040-A4FD-4108-6BAD-F5D3D8010DAF}"/>
              </a:ext>
            </a:extLst>
          </p:cNvPr>
          <p:cNvSpPr txBox="1"/>
          <p:nvPr/>
        </p:nvSpPr>
        <p:spPr>
          <a:xfrm>
            <a:off x="4545819" y="4656717"/>
            <a:ext cx="3692221" cy="160043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400">
                <a:solidFill>
                  <a:schemeClr val="bg1"/>
                </a:solidFill>
              </a:rPr>
              <a:t>René Jans-Beken</a:t>
            </a:r>
          </a:p>
          <a:p>
            <a:pPr marL="285750" indent="-285750">
              <a:buFontTx/>
              <a:buChar char="-"/>
            </a:pPr>
            <a:r>
              <a:rPr lang="en-US" sz="1400">
                <a:solidFill>
                  <a:schemeClr val="bg1"/>
                </a:solidFill>
              </a:rPr>
              <a:t>Shrinivas Swami</a:t>
            </a:r>
            <a:endParaRPr lang="en-US" sz="1400">
              <a:solidFill>
                <a:schemeClr val="bg1"/>
              </a:solidFill>
              <a:ea typeface="Calibri"/>
              <a:cs typeface="Calibri"/>
            </a:endParaRPr>
          </a:p>
          <a:p>
            <a:pPr marL="285750" indent="-285750">
              <a:buFontTx/>
              <a:buChar char="-"/>
            </a:pPr>
            <a:r>
              <a:rPr lang="en-US" sz="1400">
                <a:solidFill>
                  <a:schemeClr val="bg1"/>
                </a:solidFill>
              </a:rPr>
              <a:t>Shubhanshu Sharad Jaiswal</a:t>
            </a:r>
            <a:endParaRPr lang="en-US" sz="1400">
              <a:solidFill>
                <a:schemeClr val="bg1"/>
              </a:solidFill>
              <a:ea typeface="Calibri"/>
              <a:cs typeface="Calibri"/>
            </a:endParaRPr>
          </a:p>
          <a:p>
            <a:pPr marL="285750" indent="-285750">
              <a:buFontTx/>
              <a:buChar char="-"/>
            </a:pPr>
            <a:r>
              <a:rPr lang="en-US" sz="1400" err="1">
                <a:solidFill>
                  <a:schemeClr val="bg1"/>
                </a:solidFill>
              </a:rPr>
              <a:t>Uzochikwa</a:t>
            </a:r>
            <a:r>
              <a:rPr lang="en-US" sz="1400">
                <a:solidFill>
                  <a:schemeClr val="bg1"/>
                </a:solidFill>
              </a:rPr>
              <a:t> Enunwa</a:t>
            </a:r>
            <a:endParaRPr lang="en-US" sz="1400">
              <a:solidFill>
                <a:schemeClr val="bg1"/>
              </a:solidFill>
              <a:ea typeface="Calibri"/>
              <a:cs typeface="Calibri"/>
            </a:endParaRPr>
          </a:p>
          <a:p>
            <a:pPr marL="285750" indent="-285750">
              <a:buFontTx/>
              <a:buChar char="-"/>
            </a:pPr>
            <a:r>
              <a:rPr lang="en-US" sz="1400">
                <a:solidFill>
                  <a:schemeClr val="bg1"/>
                </a:solidFill>
              </a:rPr>
              <a:t>William </a:t>
            </a:r>
            <a:r>
              <a:rPr lang="en-US" sz="1400" err="1">
                <a:solidFill>
                  <a:schemeClr val="bg1"/>
                </a:solidFill>
              </a:rPr>
              <a:t>Kimandu</a:t>
            </a:r>
            <a:endParaRPr lang="en-US" sz="1400" err="1">
              <a:solidFill>
                <a:schemeClr val="bg1"/>
              </a:solidFill>
              <a:ea typeface="Calibri"/>
              <a:cs typeface="Calibri"/>
            </a:endParaRPr>
          </a:p>
          <a:p>
            <a:pPr marL="285750" indent="-285750">
              <a:buFontTx/>
              <a:buChar char="-"/>
            </a:pPr>
            <a:r>
              <a:rPr lang="en-US" sz="1400">
                <a:solidFill>
                  <a:schemeClr val="bg1"/>
                </a:solidFill>
              </a:rPr>
              <a:t>Joran Koenders</a:t>
            </a:r>
            <a:endParaRPr lang="en-US" sz="1400">
              <a:solidFill>
                <a:schemeClr val="bg1"/>
              </a:solidFill>
              <a:ea typeface="Calibri"/>
              <a:cs typeface="Calibri"/>
            </a:endParaRPr>
          </a:p>
          <a:p>
            <a:pPr marL="285750" indent="-285750">
              <a:buFontTx/>
              <a:buChar char="-"/>
            </a:pPr>
            <a:r>
              <a:rPr lang="en-US" sz="1400">
                <a:solidFill>
                  <a:schemeClr val="bg1"/>
                </a:solidFill>
              </a:rPr>
              <a:t>David </a:t>
            </a:r>
            <a:r>
              <a:rPr lang="en-US" sz="1400" err="1">
                <a:solidFill>
                  <a:schemeClr val="bg1"/>
                </a:solidFill>
              </a:rPr>
              <a:t>Keesman</a:t>
            </a:r>
            <a:endParaRPr lang="en-US" sz="1400" err="1">
              <a:solidFill>
                <a:schemeClr val="bg1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470159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uODQhcquFMn27NKyIVnVUFAAAAAAADAAAAAAADAAAAAwADAAEA////////BAAAAAMAEAAL9nrOtDmFzESKfegiqEkiw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PuODQhcquFMn27NKyIVnVUDRGF0YQAbAAAABExpbmtlZFNoYXBlRGF0YQAFAAAAAAACTmFtZQAZAAAATGlua2VkU2hhcGVzRGF0YVByb3BlcnR5ABBWZXJzaW9uAAAAAAAJTGFzdFdyaXRlAOKb/I9+AQAAAAEA/////8YAxgAAAAVfaWQAEAAAAAT2es60OYXMRIp96CKoSSLBA0RhdGEAUwAAAAhQcmVzZW50YXRpb25TY2FubmVkRm9yTGlua2VkU2hhcGVzAAECTnVtYmVyRm9ybWF0U2VwYXJhdG9yTW9kZQAKAAAAQXV0b21hdGljAAACTmFtZQAkAAAATGlua2VkU2hhcGVQcmVzZW50YXRpb25TZXR0aW5nc0RhdGEAEFZlcnNpb24AAAAAAAlMYXN0V3JpdGUAZ5z8j3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TEXT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27"/>
  <p:tag name="MIO_SHOW_DATE" val="Tru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True"/>
  <p:tag name="MIO_NUMBER_OF_VALID_LAYOUTS" val="29"/>
  <p:tag name="MIO_HDS" val="True"/>
  <p:tag name="MIO_SKIPVERSION" val="01.01.0001 00:00:00"/>
  <p:tag name="MIO_EKGUID" val="101bf71b-ffc9-43c9-b0b7-cc5680e30b67"/>
  <p:tag name="MIO_UPDATE" val="True"/>
  <p:tag name="MIO_VERSION" val="12.05.2022 09:00:43"/>
  <p:tag name="MIO_LASTDOWNLOADED" val="16.05.2022 09:49:54.577"/>
  <p:tag name="MIO_OBJECTNAME" val="ASML Master"/>
  <p:tag name="MIO_CDID" val="531547a1-6921-4a73-8514-e2d26a6e33a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SML Template 2021">
  <a:themeElements>
    <a:clrScheme name="ASML Template">
      <a:dk1>
        <a:srgbClr val="000000"/>
      </a:dk1>
      <a:lt1>
        <a:srgbClr val="FFFFFF"/>
      </a:lt1>
      <a:dk2>
        <a:srgbClr val="00A3E0"/>
      </a:dk2>
      <a:lt2>
        <a:srgbClr val="E0E1E3"/>
      </a:lt2>
      <a:accent1>
        <a:srgbClr val="10069F"/>
      </a:accent1>
      <a:accent2>
        <a:srgbClr val="5A5B5E"/>
      </a:accent2>
      <a:accent3>
        <a:srgbClr val="FF6A13"/>
      </a:accent3>
      <a:accent4>
        <a:srgbClr val="43B02A"/>
      </a:accent4>
      <a:accent5>
        <a:srgbClr val="FFD100"/>
      </a:accent5>
      <a:accent6>
        <a:srgbClr val="8031A7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ASML Template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/>
      <a:bodyPr/>
      <a:lstStyle/>
      <a:style>
        <a:lnRef idx="2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algn="l" defTabSz="374400">
          <a:lnSpc>
            <a:spcPct val="95000"/>
          </a:lnSpc>
          <a:spcAft>
            <a:spcPts val="737"/>
          </a:spcAft>
          <a:defRPr sz="1600" dirty="0"/>
        </a:defPPr>
        <a:lvl1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1pPr>
        <a:lvl2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b="1" kern="1200" baseline="0">
            <a:solidFill>
              <a:schemeClr val="tx1"/>
            </a:solidFill>
            <a:latin typeface="+mn-lt"/>
            <a:ea typeface="+mn-ea"/>
            <a:cs typeface="+mn-cs"/>
          </a:defRPr>
        </a:lvl2pPr>
        <a:lvl3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SzPct val="110000"/>
          <a:buFont typeface="Arial" panose="020B0604020202020204" pitchFamily="34" charset="0"/>
          <a:buChar char="•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3pPr>
        <a:lvl4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SzPct val="100000"/>
          <a:buFont typeface="Arial" panose="020B0604020202020204" pitchFamily="34" charset="0"/>
          <a:buChar char="•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4pPr>
        <a:lvl5pPr marL="702000" indent="-23400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SzPct val="90000"/>
          <a:buFont typeface="Arial" panose="020B0604020202020204" pitchFamily="34" charset="0"/>
          <a:buChar char="•"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5pPr>
        <a:lvl6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 typeface="+mj-lt"/>
          <a:buAutoNum type="arabicPeriod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6pPr>
        <a:lvl7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 typeface="+mj-lt"/>
          <a:buAutoNum type="romanLcPeriod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7pPr>
        <a:lvl8pPr marL="0" indent="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Tx/>
          <a:buNone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8pPr>
        <a:lvl9pPr marL="0" indent="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FontTx/>
          <a:buNone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9pPr>
      </a:lstStyle>
    </a:txDef>
  </a:objectDefaults>
  <a:extraClrSchemeLst/>
  <a:custClrLst>
    <a:custClr name="ASML Blue">
      <a:srgbClr val="10069F"/>
    </a:custClr>
    <a:custClr name="ASML Light Blue">
      <a:srgbClr val="00A3E0"/>
    </a:custClr>
    <a:custClr name="ASML Teal">
      <a:srgbClr val="00BFB3"/>
    </a:custClr>
    <a:custClr name="ASML Green">
      <a:srgbClr val="43B02A"/>
    </a:custClr>
    <a:custClr name="ASML Light Green">
      <a:srgbClr val="C4D600"/>
    </a:custClr>
    <a:custClr name="ASML Yellow">
      <a:srgbClr val="FFD100"/>
    </a:custClr>
    <a:custClr name="ASML Orange">
      <a:srgbClr val="FF6A13"/>
    </a:custClr>
    <a:custClr name="ASML Red">
      <a:srgbClr val="F00000"/>
    </a:custClr>
    <a:custClr name="ASML Magenta">
      <a:srgbClr val="DF1995"/>
    </a:custClr>
    <a:custClr name="ASML Violet">
      <a:srgbClr val="8031A7"/>
    </a:custClr>
    <a:custClr name="ASML Blue">
      <a:srgbClr val="10069F"/>
    </a:custClr>
    <a:custClr name="ASML Light Blue -30">
      <a:srgbClr val="50C0E6"/>
    </a:custClr>
    <a:custClr name="ASML Teal -30">
      <a:srgbClr val="55D1C9"/>
    </a:custClr>
    <a:custClr name="ASML Green -30">
      <a:srgbClr val="80C572"/>
    </a:custClr>
    <a:custClr name="ASML Light Green -30">
      <a:srgbClr val="D8DF60"/>
    </a:custClr>
    <a:custClr name="ASML Yellow -30">
      <a:srgbClr val="FEDC61"/>
    </a:custClr>
    <a:custClr name="ASML Orange -30">
      <a:srgbClr val="FD8B57"/>
    </a:custClr>
    <a:custClr name="ASML Red -30">
      <a:srgbClr val="F25052"/>
    </a:custClr>
    <a:custClr name="ASML Magenta -30">
      <a:srgbClr val="E565B3"/>
    </a:custClr>
    <a:custClr name="ASML Violet -30">
      <a:srgbClr val="A473BE"/>
    </a:custClr>
    <a:custClr name="ASML Blue">
      <a:srgbClr val="10069F"/>
    </a:custClr>
    <a:custClr name="ASML Light Blue +30">
      <a:srgbClr val="0089B7"/>
    </a:custClr>
    <a:custClr name="ASML Teal +30">
      <a:srgbClr val="199D97"/>
    </a:custClr>
    <a:custClr name="ASML Green +30">
      <a:srgbClr val="1D8E29"/>
    </a:custClr>
    <a:custClr name="ASML Light Green +30">
      <a:srgbClr val="9FAE38"/>
    </a:custClr>
    <a:custClr name="ASML Yellow +30">
      <a:srgbClr val="D0AD23"/>
    </a:custClr>
    <a:custClr name="ASML Orange +30">
      <a:srgbClr val="D04A1E"/>
    </a:custClr>
    <a:custClr name="ASML Red +30">
      <a:srgbClr val="C50E16"/>
    </a:custClr>
    <a:custClr name="ASML Magenta +30">
      <a:srgbClr val="BA1B7B"/>
    </a:custClr>
    <a:custClr name="ASML Violet +30">
      <a:srgbClr val="6B2C89"/>
    </a:custClr>
  </a:custClrLst>
  <a:extLst>
    <a:ext uri="{05A4C25C-085E-4340-85A3-A5531E510DB2}">
      <thm15:themeFamily xmlns:thm15="http://schemas.microsoft.com/office/thememl/2012/main" name="Default Theme" id="{2CB80398-DBDC-458C-ABBC-B4C7F2006E5E}" vid="{125ADE50-1520-43F0-8E92-D81E5E62B05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4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65c44e8-82e0-472a-a146-da60c58e68e1" xsi:nil="true"/>
    <h299cf7589dc4b75bcd2bf9f19243c76 xmlns="665c44e8-82e0-472a-a146-da60c58e68e1">
      <Terms xmlns="http://schemas.microsoft.com/office/infopath/2007/PartnerControls"/>
    </h299cf7589dc4b75bcd2bf9f19243c76>
    <lcf76f155ced4ddcb4097134ff3c332f xmlns="33592d07-0149-4775-bf11-84351395ce49">
      <Terms xmlns="http://schemas.microsoft.com/office/infopath/2007/PartnerControls"/>
    </lcf76f155ced4ddcb4097134ff3c332f>
    <SharedWithUsers xmlns="cd8835bb-4c27-4584-8c9e-cca4dc3cc14a">
      <UserInfo>
        <DisplayName>Shubhanshu Sharad Jaiswal</DisplayName>
        <AccountId>694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haredContentType xmlns="Microsoft.SharePoint.Taxonomy.ContentTypeSync" SourceId="9bb7800a-9dd4-4efa-9404-7ac564e64633" ContentTypeId="0x0101" PreviousValue="false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F4C60CD30C0145A1219FF6B5417EC3" ma:contentTypeVersion="18" ma:contentTypeDescription="Create a new document." ma:contentTypeScope="" ma:versionID="4086d90cb178ec20c041de7de2ec973c">
  <xsd:schema xmlns:xsd="http://www.w3.org/2001/XMLSchema" xmlns:xs="http://www.w3.org/2001/XMLSchema" xmlns:p="http://schemas.microsoft.com/office/2006/metadata/properties" xmlns:ns2="665c44e8-82e0-472a-a146-da60c58e68e1" xmlns:ns3="33592d07-0149-4775-bf11-84351395ce49" xmlns:ns4="cd8835bb-4c27-4584-8c9e-cca4dc3cc14a" targetNamespace="http://schemas.microsoft.com/office/2006/metadata/properties" ma:root="true" ma:fieldsID="eab80969dcecb0d0d4c53caf9314b529" ns2:_="" ns3:_="" ns4:_="">
    <xsd:import namespace="665c44e8-82e0-472a-a146-da60c58e68e1"/>
    <xsd:import namespace="33592d07-0149-4775-bf11-84351395ce49"/>
    <xsd:import namespace="cd8835bb-4c27-4584-8c9e-cca4dc3cc14a"/>
    <xsd:element name="properties">
      <xsd:complexType>
        <xsd:sequence>
          <xsd:element name="documentManagement">
            <xsd:complexType>
              <xsd:all>
                <xsd:element ref="ns2:h299cf7589dc4b75bcd2bf9f19243c76" minOccurs="0"/>
                <xsd:element ref="ns2:TaxCatchAll" minOccurs="0"/>
                <xsd:element ref="ns2:TaxCatchAllLabel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3:lcf76f155ced4ddcb4097134ff3c332f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c44e8-82e0-472a-a146-da60c58e68e1" elementFormDefault="qualified">
    <xsd:import namespace="http://schemas.microsoft.com/office/2006/documentManagement/types"/>
    <xsd:import namespace="http://schemas.microsoft.com/office/infopath/2007/PartnerControls"/>
    <xsd:element name="h299cf7589dc4b75bcd2bf9f19243c76" ma:index="8" nillable="true" ma:taxonomy="true" ma:internalName="h299cf7589dc4b75bcd2bf9f19243c76" ma:taxonomyFieldName="InformationClassification" ma:displayName="Information Classification" ma:readOnly="false" ma:default="" ma:fieldId="{1299cf75-89dc-4b75-bcd2-bf9f19243c76}" ma:sspId="9bb7800a-9dd4-4efa-9404-7ac564e64633" ma:termSetId="15e70205-4b68-455f-98cc-31f0c369727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e068aae6-3737-4416-b73e-94809a953ec3}" ma:internalName="TaxCatchAll" ma:showField="CatchAllData" ma:web="cd8835bb-4c27-4584-8c9e-cca4dc3cc1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e068aae6-3737-4416-b73e-94809a953ec3}" ma:internalName="TaxCatchAllLabel" ma:readOnly="true" ma:showField="CatchAllDataLabel" ma:web="cd8835bb-4c27-4584-8c9e-cca4dc3cc1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592d07-0149-4775-bf11-84351395ce4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5" nillable="true" ma:taxonomy="true" ma:internalName="lcf76f155ced4ddcb4097134ff3c332f" ma:taxonomyFieldName="MediaServiceImageTags" ma:displayName="Image Tags" ma:readOnly="false" ma:fieldId="{5cf76f15-5ced-4ddc-b409-7134ff3c332f}" ma:taxonomyMulti="true" ma:sspId="9bb7800a-9dd4-4efa-9404-7ac564e6463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8835bb-4c27-4584-8c9e-cca4dc3cc14a" elementFormDefault="qualified">
    <xsd:import namespace="http://schemas.microsoft.com/office/2006/documentManagement/types"/>
    <xsd:import namespace="http://schemas.microsoft.com/office/infopath/2007/PartnerControls"/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FF0BDC4-CE59-4112-9757-33FF7CD3D130}">
  <ds:schemaRefs>
    <ds:schemaRef ds:uri="33592d07-0149-4775-bf11-84351395ce49"/>
    <ds:schemaRef ds:uri="665c44e8-82e0-472a-a146-da60c58e68e1"/>
    <ds:schemaRef ds:uri="cd8835bb-4c27-4584-8c9e-cca4dc3cc14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8844624-A511-42F8-809B-7BAE66630C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0FEAA49-8AD0-4434-98E5-8FA1CD124A1A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C7E2F0AF-096F-4A2C-89E7-63AB7B342602}">
  <ds:schemaRefs>
    <ds:schemaRef ds:uri="33592d07-0149-4775-bf11-84351395ce49"/>
    <ds:schemaRef ds:uri="665c44e8-82e0-472a-a146-da60c58e68e1"/>
    <ds:schemaRef ds:uri="cd8835bb-4c27-4584-8c9e-cca4dc3cc14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6</Slides>
  <Notes>1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Office Theme</vt:lpstr>
      <vt:lpstr>ASML Template 2021</vt:lpstr>
      <vt:lpstr>Infra ART- Datacenter Connectivity</vt:lpstr>
      <vt:lpstr>Infra ART – Datacenter Connectivity PI24.2      Sprint 2 Review</vt:lpstr>
      <vt:lpstr>Infra ART – Datacenter Connectivity PI24.2      Sprint 2 Review</vt:lpstr>
      <vt:lpstr>Infra ART – Datacenter Connectivity PI24.2      Sprint 2 Review</vt:lpstr>
      <vt:lpstr>Infra ART – Datacenter Connectivity PI24.2      Sprint 2 Review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C PI24.2 S1  Sprint Review</dc:title>
  <dc:creator>David Keesman</dc:creator>
  <cp:revision>1</cp:revision>
  <dcterms:created xsi:type="dcterms:W3CDTF">2021-03-04T06:38:36Z</dcterms:created>
  <dcterms:modified xsi:type="dcterms:W3CDTF">2024-04-29T12:56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F4C60CD30C0145A1219FF6B5417EC3</vt:lpwstr>
  </property>
  <property fmtid="{D5CDD505-2E9C-101B-9397-08002B2CF9AE}" pid="3" name="InformationClassification">
    <vt:lpwstr/>
  </property>
  <property fmtid="{D5CDD505-2E9C-101B-9397-08002B2CF9AE}" pid="4" name="MediaServiceImageTags">
    <vt:lpwstr/>
  </property>
  <property fmtid="{D5CDD505-2E9C-101B-9397-08002B2CF9AE}" pid="5" name="MSIP_Label_1c18959a-f805-4b02-b465-c75c791063b3_Enabled">
    <vt:lpwstr>true</vt:lpwstr>
  </property>
  <property fmtid="{D5CDD505-2E9C-101B-9397-08002B2CF9AE}" pid="6" name="MSIP_Label_1c18959a-f805-4b02-b465-c75c791063b3_SetDate">
    <vt:lpwstr>2023-10-16T18:20:56Z</vt:lpwstr>
  </property>
  <property fmtid="{D5CDD505-2E9C-101B-9397-08002B2CF9AE}" pid="7" name="MSIP_Label_1c18959a-f805-4b02-b465-c75c791063b3_Method">
    <vt:lpwstr>Privileged</vt:lpwstr>
  </property>
  <property fmtid="{D5CDD505-2E9C-101B-9397-08002B2CF9AE}" pid="8" name="MSIP_Label_1c18959a-f805-4b02-b465-c75c791063b3_Name">
    <vt:lpwstr>1c18959a-f805-4b02-b465-c75c791063b3</vt:lpwstr>
  </property>
  <property fmtid="{D5CDD505-2E9C-101B-9397-08002B2CF9AE}" pid="9" name="MSIP_Label_1c18959a-f805-4b02-b465-c75c791063b3_SiteId">
    <vt:lpwstr>af73baa8-f594-4eb2-a39d-93e96cad61fc</vt:lpwstr>
  </property>
  <property fmtid="{D5CDD505-2E9C-101B-9397-08002B2CF9AE}" pid="10" name="MSIP_Label_1c18959a-f805-4b02-b465-c75c791063b3_ActionId">
    <vt:lpwstr>f02e8880-a6f0-4e37-8e1f-acaae7ec3205</vt:lpwstr>
  </property>
  <property fmtid="{D5CDD505-2E9C-101B-9397-08002B2CF9AE}" pid="11" name="MSIP_Label_1c18959a-f805-4b02-b465-c75c791063b3_ContentBits">
    <vt:lpwstr>2</vt:lpwstr>
  </property>
</Properties>
</file>